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6.xml" ContentType="application/vnd.openxmlformats-officedocument.theme+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7.xml" ContentType="application/vnd.openxmlformats-officedocument.theme+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notesSlides/notesSlide1.xml" ContentType="application/vnd.openxmlformats-officedocument.presentationml.notesSlide+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notesSlides/notesSlide2.xml" ContentType="application/vnd.openxmlformats-officedocument.presentationml.notesSlide+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 id="2147483864" r:id="rId5"/>
    <p:sldMasterId id="2147483906" r:id="rId6"/>
    <p:sldMasterId id="2147483926" r:id="rId7"/>
    <p:sldMasterId id="2147483981" r:id="rId8"/>
    <p:sldMasterId id="2147484007" r:id="rId9"/>
    <p:sldMasterId id="2147484029" r:id="rId10"/>
  </p:sldMasterIdLst>
  <p:notesMasterIdLst>
    <p:notesMasterId r:id="rId15"/>
  </p:notesMasterIdLst>
  <p:handoutMasterIdLst>
    <p:handoutMasterId r:id="rId16"/>
  </p:handoutMasterIdLst>
  <p:sldIdLst>
    <p:sldId id="2147470782" r:id="rId11"/>
    <p:sldId id="2147470787" r:id="rId12"/>
    <p:sldId id="2147470788" r:id="rId13"/>
    <p:sldId id="2147470786" r:id="rId14"/>
  </p:sldIdLst>
  <p:sldSz cx="9144000" cy="6858000" type="screen4x3"/>
  <p:notesSz cx="7010400" cy="92964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24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39DD"/>
    <a:srgbClr val="FF0000"/>
    <a:srgbClr val="C8083F"/>
    <a:srgbClr val="F40A4D"/>
    <a:srgbClr val="000066"/>
    <a:srgbClr val="CCECFF"/>
    <a:srgbClr val="FFCCFF"/>
    <a:srgbClr val="CCCCFF"/>
    <a:srgbClr val="99FFCC"/>
    <a:srgbClr val="EDC94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510" autoAdjust="0"/>
    <p:restoredTop sz="90968" autoAdjust="0"/>
  </p:normalViewPr>
  <p:slideViewPr>
    <p:cSldViewPr snapToGrid="0" snapToObjects="1">
      <p:cViewPr>
        <p:scale>
          <a:sx n="100" d="100"/>
          <a:sy n="100" d="100"/>
        </p:scale>
        <p:origin x="192" y="-518"/>
      </p:cViewPr>
      <p:guideLst/>
    </p:cSldViewPr>
  </p:slideViewPr>
  <p:outlineViewPr>
    <p:cViewPr>
      <p:scale>
        <a:sx n="33" d="100"/>
        <a:sy n="33" d="100"/>
      </p:scale>
      <p:origin x="0" y="-2688"/>
    </p:cViewPr>
  </p:outlineViewPr>
  <p:notesTextViewPr>
    <p:cViewPr>
      <p:scale>
        <a:sx n="200" d="100"/>
        <a:sy n="200" d="100"/>
      </p:scale>
      <p:origin x="0" y="0"/>
    </p:cViewPr>
  </p:notesTextViewPr>
  <p:sorterViewPr>
    <p:cViewPr varScale="1">
      <p:scale>
        <a:sx n="1" d="1"/>
        <a:sy n="1" d="1"/>
      </p:scale>
      <p:origin x="0" y="0"/>
    </p:cViewPr>
  </p:sorterViewPr>
  <p:notesViewPr>
    <p:cSldViewPr snapToGrid="0" snapToObjects="1">
      <p:cViewPr varScale="1">
        <p:scale>
          <a:sx n="66" d="100"/>
          <a:sy n="66" d="100"/>
        </p:scale>
        <p:origin x="2178" y="5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microsoft.com/office/2018/10/relationships/authors" Target="authors.xml"/><Relationship Id="rId10" Type="http://schemas.openxmlformats.org/officeDocument/2006/relationships/slideMaster" Target="slideMasters/slideMaster7.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5595836735927"/>
          <c:y val="7.3246885016564567E-2"/>
          <c:w val="0.81931293288947693"/>
          <c:h val="0.86652220107470168"/>
        </c:manualLayout>
      </c:layout>
      <c:lineChart>
        <c:grouping val="standard"/>
        <c:varyColors val="0"/>
        <c:ser>
          <c:idx val="0"/>
          <c:order val="0"/>
          <c:tx>
            <c:strRef>
              <c:f>Sheet1!$B$1</c:f>
              <c:strCache>
                <c:ptCount val="1"/>
                <c:pt idx="0">
                  <c:v>Brockton</c:v>
                </c:pt>
              </c:strCache>
            </c:strRef>
          </c:tx>
          <c:spPr>
            <a:ln w="19050" cap="rnd">
              <a:solidFill>
                <a:schemeClr val="accent1"/>
              </a:solidFill>
              <a:round/>
            </a:ln>
            <a:effectLst/>
          </c:spPr>
          <c:marker>
            <c:symbol val="none"/>
          </c:marker>
          <c:cat>
            <c:numRef>
              <c:f>Sheet1!$A$2:$A$60</c:f>
              <c:numCache>
                <c:formatCode>m/d/yyyy</c:formatCode>
                <c:ptCount val="59"/>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formatCode="d\-mmm">
                  <c:v>44791</c:v>
                </c:pt>
                <c:pt idx="18" formatCode="d\-mmm">
                  <c:v>44792</c:v>
                </c:pt>
                <c:pt idx="19" formatCode="d\-mmm">
                  <c:v>44793</c:v>
                </c:pt>
                <c:pt idx="20" formatCode="d\-mmm">
                  <c:v>44794</c:v>
                </c:pt>
                <c:pt idx="21" formatCode="d\-mmm">
                  <c:v>44795</c:v>
                </c:pt>
                <c:pt idx="22" formatCode="d\-mmm">
                  <c:v>44796</c:v>
                </c:pt>
                <c:pt idx="23" formatCode="d\-mmm">
                  <c:v>44797</c:v>
                </c:pt>
                <c:pt idx="24" formatCode="d\-mmm">
                  <c:v>44798</c:v>
                </c:pt>
                <c:pt idx="25" formatCode="d\-mmm">
                  <c:v>44799</c:v>
                </c:pt>
                <c:pt idx="26" formatCode="d\-mmm">
                  <c:v>44800</c:v>
                </c:pt>
                <c:pt idx="27" formatCode="d\-mmm">
                  <c:v>44801</c:v>
                </c:pt>
                <c:pt idx="28" formatCode="d\-mmm">
                  <c:v>44802</c:v>
                </c:pt>
                <c:pt idx="29" formatCode="d\-mmm">
                  <c:v>44803</c:v>
                </c:pt>
                <c:pt idx="30" formatCode="d\-mmm">
                  <c:v>44804</c:v>
                </c:pt>
                <c:pt idx="31" formatCode="d\-mmm">
                  <c:v>44805</c:v>
                </c:pt>
                <c:pt idx="32" formatCode="d\-mmm">
                  <c:v>44806</c:v>
                </c:pt>
                <c:pt idx="33" formatCode="d\-mmm">
                  <c:v>44807</c:v>
                </c:pt>
                <c:pt idx="34" formatCode="d\-mmm">
                  <c:v>44808</c:v>
                </c:pt>
                <c:pt idx="35" formatCode="d\-mmm">
                  <c:v>44809</c:v>
                </c:pt>
                <c:pt idx="36" formatCode="d\-mmm">
                  <c:v>44810</c:v>
                </c:pt>
                <c:pt idx="37" formatCode="d\-mmm">
                  <c:v>44811</c:v>
                </c:pt>
                <c:pt idx="38" formatCode="d\-mmm">
                  <c:v>44812</c:v>
                </c:pt>
                <c:pt idx="39" formatCode="d\-mmm">
                  <c:v>44813</c:v>
                </c:pt>
                <c:pt idx="40" formatCode="d\-mmm">
                  <c:v>44814</c:v>
                </c:pt>
                <c:pt idx="41" formatCode="d\-mmm">
                  <c:v>44815</c:v>
                </c:pt>
                <c:pt idx="42" formatCode="d\-mmm">
                  <c:v>44816</c:v>
                </c:pt>
                <c:pt idx="43" formatCode="d\-mmm">
                  <c:v>44817</c:v>
                </c:pt>
                <c:pt idx="44" formatCode="d\-mmm">
                  <c:v>44818</c:v>
                </c:pt>
                <c:pt idx="45">
                  <c:v>44819</c:v>
                </c:pt>
                <c:pt idx="46">
                  <c:v>44820</c:v>
                </c:pt>
                <c:pt idx="47">
                  <c:v>44821</c:v>
                </c:pt>
                <c:pt idx="48">
                  <c:v>44822</c:v>
                </c:pt>
                <c:pt idx="49">
                  <c:v>44823</c:v>
                </c:pt>
                <c:pt idx="50">
                  <c:v>44824</c:v>
                </c:pt>
                <c:pt idx="51">
                  <c:v>44825</c:v>
                </c:pt>
                <c:pt idx="52">
                  <c:v>44826</c:v>
                </c:pt>
                <c:pt idx="53">
                  <c:v>44827</c:v>
                </c:pt>
                <c:pt idx="54">
                  <c:v>44828</c:v>
                </c:pt>
                <c:pt idx="55">
                  <c:v>44829</c:v>
                </c:pt>
                <c:pt idx="56">
                  <c:v>44830</c:v>
                </c:pt>
              </c:numCache>
            </c:numRef>
          </c:cat>
          <c:val>
            <c:numRef>
              <c:f>Sheet1!$B$2:$B$60</c:f>
              <c:numCache>
                <c:formatCode>0</c:formatCode>
                <c:ptCount val="59"/>
                <c:pt idx="0">
                  <c:v>1488.9963080000002</c:v>
                </c:pt>
                <c:pt idx="1">
                  <c:v>1575.13822</c:v>
                </c:pt>
                <c:pt idx="2">
                  <c:v>1575.13822</c:v>
                </c:pt>
                <c:pt idx="3">
                  <c:v>1510.1363144500001</c:v>
                </c:pt>
                <c:pt idx="4">
                  <c:v>1510.1363144500001</c:v>
                </c:pt>
                <c:pt idx="5">
                  <c:v>1510.1363144500001</c:v>
                </c:pt>
                <c:pt idx="6">
                  <c:v>1433.7031817</c:v>
                </c:pt>
                <c:pt idx="7">
                  <c:v>1234.1719569333334</c:v>
                </c:pt>
                <c:pt idx="8">
                  <c:v>1056.8363874000001</c:v>
                </c:pt>
                <c:pt idx="9">
                  <c:v>1057</c:v>
                </c:pt>
                <c:pt idx="10">
                  <c:v>1090</c:v>
                </c:pt>
                <c:pt idx="11">
                  <c:v>1090</c:v>
                </c:pt>
                <c:pt idx="12">
                  <c:v>1090</c:v>
                </c:pt>
                <c:pt idx="13">
                  <c:v>1126.7082010107385</c:v>
                </c:pt>
                <c:pt idx="14">
                  <c:v>1126.7082010107385</c:v>
                </c:pt>
                <c:pt idx="15">
                  <c:v>1126.7082010107385</c:v>
                </c:pt>
                <c:pt idx="16">
                  <c:v>1126.7082010107385</c:v>
                </c:pt>
                <c:pt idx="17">
                  <c:v>1315.6705556864001</c:v>
                </c:pt>
                <c:pt idx="18">
                  <c:v>1354.8897906453601</c:v>
                </c:pt>
                <c:pt idx="19">
                  <c:v>1354.8897906453601</c:v>
                </c:pt>
                <c:pt idx="20">
                  <c:v>1379.955399293525</c:v>
                </c:pt>
                <c:pt idx="21">
                  <c:v>1379.955399293525</c:v>
                </c:pt>
                <c:pt idx="22">
                  <c:v>1308</c:v>
                </c:pt>
                <c:pt idx="23">
                  <c:v>1308</c:v>
                </c:pt>
                <c:pt idx="24">
                  <c:v>1236</c:v>
                </c:pt>
                <c:pt idx="25">
                  <c:v>1183</c:v>
                </c:pt>
                <c:pt idx="26">
                  <c:v>1183</c:v>
                </c:pt>
                <c:pt idx="27">
                  <c:v>1365</c:v>
                </c:pt>
                <c:pt idx="28">
                  <c:v>1260</c:v>
                </c:pt>
                <c:pt idx="29">
                  <c:v>1625</c:v>
                </c:pt>
                <c:pt idx="30">
                  <c:v>1625</c:v>
                </c:pt>
                <c:pt idx="31">
                  <c:v>1471</c:v>
                </c:pt>
                <c:pt idx="32">
                  <c:v>1471.4249674428611</c:v>
                </c:pt>
                <c:pt idx="33">
                  <c:v>1324.3362777461441</c:v>
                </c:pt>
                <c:pt idx="34">
                  <c:v>1177.6993247760249</c:v>
                </c:pt>
                <c:pt idx="35">
                  <c:v>1117.4301080252346</c:v>
                </c:pt>
                <c:pt idx="36">
                  <c:v>766.91966504028221</c:v>
                </c:pt>
                <c:pt idx="37">
                  <c:v>968.9083618528357</c:v>
                </c:pt>
                <c:pt idx="38">
                  <c:v>977.62803710868707</c:v>
                </c:pt>
                <c:pt idx="39">
                  <c:v>977.62803710868707</c:v>
                </c:pt>
                <c:pt idx="40">
                  <c:v>1038.0396666460397</c:v>
                </c:pt>
                <c:pt idx="41">
                  <c:v>1045.8544336856237</c:v>
                </c:pt>
                <c:pt idx="42">
                  <c:v>1151.2714408044747</c:v>
                </c:pt>
                <c:pt idx="43">
                  <c:v>1301.5665154198307</c:v>
                </c:pt>
                <c:pt idx="44">
                  <c:v>1504.2313174737928</c:v>
                </c:pt>
                <c:pt idx="45">
                  <c:v>1628.8066899550099</c:v>
                </c:pt>
                <c:pt idx="46">
                  <c:v>1628.8066899550099</c:v>
                </c:pt>
                <c:pt idx="47">
                  <c:v>1628.8066899550099</c:v>
                </c:pt>
                <c:pt idx="48">
                  <c:v>1496.9678489400897</c:v>
                </c:pt>
                <c:pt idx="49">
                  <c:v>1563.7889739499244</c:v>
                </c:pt>
                <c:pt idx="50">
                  <c:v>1426.3942421970826</c:v>
                </c:pt>
                <c:pt idx="51">
                  <c:v>744.49778360919402</c:v>
                </c:pt>
                <c:pt idx="52">
                  <c:v>856.14097639706404</c:v>
                </c:pt>
                <c:pt idx="53">
                  <c:v>856.14097639706404</c:v>
                </c:pt>
                <c:pt idx="54">
                  <c:v>856.14097639706404</c:v>
                </c:pt>
                <c:pt idx="55">
                  <c:v>1308.0610847736903</c:v>
                </c:pt>
                <c:pt idx="56">
                  <c:v>1308.0610847736903</c:v>
                </c:pt>
              </c:numCache>
            </c:numRef>
          </c:val>
          <c:smooth val="1"/>
          <c:extLst>
            <c:ext xmlns:c16="http://schemas.microsoft.com/office/drawing/2014/chart" uri="{C3380CC4-5D6E-409C-BE32-E72D297353CC}">
              <c16:uniqueId val="{00000000-2521-4704-8001-83623E5F1097}"/>
            </c:ext>
          </c:extLst>
        </c:ser>
        <c:ser>
          <c:idx val="1"/>
          <c:order val="1"/>
          <c:tx>
            <c:strRef>
              <c:f>Sheet1!$C$1</c:f>
              <c:strCache>
                <c:ptCount val="1"/>
                <c:pt idx="0">
                  <c:v>Hull</c:v>
                </c:pt>
              </c:strCache>
            </c:strRef>
          </c:tx>
          <c:spPr>
            <a:ln w="19050" cap="rnd">
              <a:solidFill>
                <a:srgbClr val="00B050"/>
              </a:solidFill>
              <a:round/>
            </a:ln>
            <a:effectLst/>
          </c:spPr>
          <c:marker>
            <c:symbol val="none"/>
          </c:marker>
          <c:cat>
            <c:numRef>
              <c:f>Sheet1!$A$2:$A$60</c:f>
              <c:numCache>
                <c:formatCode>m/d/yyyy</c:formatCode>
                <c:ptCount val="59"/>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formatCode="d\-mmm">
                  <c:v>44791</c:v>
                </c:pt>
                <c:pt idx="18" formatCode="d\-mmm">
                  <c:v>44792</c:v>
                </c:pt>
                <c:pt idx="19" formatCode="d\-mmm">
                  <c:v>44793</c:v>
                </c:pt>
                <c:pt idx="20" formatCode="d\-mmm">
                  <c:v>44794</c:v>
                </c:pt>
                <c:pt idx="21" formatCode="d\-mmm">
                  <c:v>44795</c:v>
                </c:pt>
                <c:pt idx="22" formatCode="d\-mmm">
                  <c:v>44796</c:v>
                </c:pt>
                <c:pt idx="23" formatCode="d\-mmm">
                  <c:v>44797</c:v>
                </c:pt>
                <c:pt idx="24" formatCode="d\-mmm">
                  <c:v>44798</c:v>
                </c:pt>
                <c:pt idx="25" formatCode="d\-mmm">
                  <c:v>44799</c:v>
                </c:pt>
                <c:pt idx="26" formatCode="d\-mmm">
                  <c:v>44800</c:v>
                </c:pt>
                <c:pt idx="27" formatCode="d\-mmm">
                  <c:v>44801</c:v>
                </c:pt>
                <c:pt idx="28" formatCode="d\-mmm">
                  <c:v>44802</c:v>
                </c:pt>
                <c:pt idx="29" formatCode="d\-mmm">
                  <c:v>44803</c:v>
                </c:pt>
                <c:pt idx="30" formatCode="d\-mmm">
                  <c:v>44804</c:v>
                </c:pt>
                <c:pt idx="31" formatCode="d\-mmm">
                  <c:v>44805</c:v>
                </c:pt>
                <c:pt idx="32" formatCode="d\-mmm">
                  <c:v>44806</c:v>
                </c:pt>
                <c:pt idx="33" formatCode="d\-mmm">
                  <c:v>44807</c:v>
                </c:pt>
                <c:pt idx="34" formatCode="d\-mmm">
                  <c:v>44808</c:v>
                </c:pt>
                <c:pt idx="35" formatCode="d\-mmm">
                  <c:v>44809</c:v>
                </c:pt>
                <c:pt idx="36" formatCode="d\-mmm">
                  <c:v>44810</c:v>
                </c:pt>
                <c:pt idx="37" formatCode="d\-mmm">
                  <c:v>44811</c:v>
                </c:pt>
                <c:pt idx="38" formatCode="d\-mmm">
                  <c:v>44812</c:v>
                </c:pt>
                <c:pt idx="39" formatCode="d\-mmm">
                  <c:v>44813</c:v>
                </c:pt>
                <c:pt idx="40" formatCode="d\-mmm">
                  <c:v>44814</c:v>
                </c:pt>
                <c:pt idx="41" formatCode="d\-mmm">
                  <c:v>44815</c:v>
                </c:pt>
                <c:pt idx="42" formatCode="d\-mmm">
                  <c:v>44816</c:v>
                </c:pt>
                <c:pt idx="43" formatCode="d\-mmm">
                  <c:v>44817</c:v>
                </c:pt>
                <c:pt idx="44" formatCode="d\-mmm">
                  <c:v>44818</c:v>
                </c:pt>
                <c:pt idx="45">
                  <c:v>44819</c:v>
                </c:pt>
                <c:pt idx="46">
                  <c:v>44820</c:v>
                </c:pt>
                <c:pt idx="47">
                  <c:v>44821</c:v>
                </c:pt>
                <c:pt idx="48">
                  <c:v>44822</c:v>
                </c:pt>
                <c:pt idx="49">
                  <c:v>44823</c:v>
                </c:pt>
                <c:pt idx="50">
                  <c:v>44824</c:v>
                </c:pt>
                <c:pt idx="51">
                  <c:v>44825</c:v>
                </c:pt>
                <c:pt idx="52">
                  <c:v>44826</c:v>
                </c:pt>
                <c:pt idx="53">
                  <c:v>44827</c:v>
                </c:pt>
                <c:pt idx="54">
                  <c:v>44828</c:v>
                </c:pt>
                <c:pt idx="55">
                  <c:v>44829</c:v>
                </c:pt>
                <c:pt idx="56">
                  <c:v>44830</c:v>
                </c:pt>
              </c:numCache>
            </c:numRef>
          </c:cat>
          <c:val>
            <c:numRef>
              <c:f>Sheet1!$C$2:$C$60</c:f>
              <c:numCache>
                <c:formatCode>0</c:formatCode>
                <c:ptCount val="59"/>
                <c:pt idx="0">
                  <c:v>923.6711196</c:v>
                </c:pt>
                <c:pt idx="1">
                  <c:v>1171.2323393000001</c:v>
                </c:pt>
                <c:pt idx="2">
                  <c:v>1195.3266836333335</c:v>
                </c:pt>
                <c:pt idx="3">
                  <c:v>1404.6607329999999</c:v>
                </c:pt>
                <c:pt idx="4">
                  <c:v>1404.6607329999999</c:v>
                </c:pt>
                <c:pt idx="5">
                  <c:v>1404.6607329999999</c:v>
                </c:pt>
                <c:pt idx="6">
                  <c:v>1404.6607329999999</c:v>
                </c:pt>
                <c:pt idx="7">
                  <c:v>1404.6607329999999</c:v>
                </c:pt>
                <c:pt idx="8">
                  <c:v>1487.725549</c:v>
                </c:pt>
                <c:pt idx="9">
                  <c:v>1502.6721377632498</c:v>
                </c:pt>
                <c:pt idx="10">
                  <c:v>1087.5949442226795</c:v>
                </c:pt>
                <c:pt idx="11">
                  <c:v>1087.5949442226795</c:v>
                </c:pt>
                <c:pt idx="12">
                  <c:v>1087.5949442226795</c:v>
                </c:pt>
                <c:pt idx="13">
                  <c:v>1087.5949442226795</c:v>
                </c:pt>
                <c:pt idx="14">
                  <c:v>1087.5949442226795</c:v>
                </c:pt>
                <c:pt idx="15">
                  <c:v>1087.5949442226795</c:v>
                </c:pt>
                <c:pt idx="16">
                  <c:v>767.84845212175048</c:v>
                </c:pt>
                <c:pt idx="17">
                  <c:v>1584.2634212143159</c:v>
                </c:pt>
                <c:pt idx="18">
                  <c:v>1584.2634212143159</c:v>
                </c:pt>
                <c:pt idx="19">
                  <c:v>1584.2634212143159</c:v>
                </c:pt>
                <c:pt idx="20">
                  <c:v>1584.2634212143159</c:v>
                </c:pt>
                <c:pt idx="21">
                  <c:v>1584.2634212143159</c:v>
                </c:pt>
                <c:pt idx="22">
                  <c:v>1557</c:v>
                </c:pt>
                <c:pt idx="23">
                  <c:v>1433</c:v>
                </c:pt>
                <c:pt idx="24">
                  <c:v>859</c:v>
                </c:pt>
                <c:pt idx="25">
                  <c:v>859</c:v>
                </c:pt>
                <c:pt idx="26">
                  <c:v>859</c:v>
                </c:pt>
                <c:pt idx="27">
                  <c:v>859</c:v>
                </c:pt>
                <c:pt idx="28">
                  <c:v>859</c:v>
                </c:pt>
                <c:pt idx="29">
                  <c:v>534</c:v>
                </c:pt>
                <c:pt idx="30">
                  <c:v>624</c:v>
                </c:pt>
                <c:pt idx="31">
                  <c:v>1193</c:v>
                </c:pt>
                <c:pt idx="32">
                  <c:v>1131.7797975851295</c:v>
                </c:pt>
                <c:pt idx="33">
                  <c:v>1131.7797975851295</c:v>
                </c:pt>
                <c:pt idx="34">
                  <c:v>1131.7797975851295</c:v>
                </c:pt>
                <c:pt idx="35">
                  <c:v>1131.7797975851295</c:v>
                </c:pt>
                <c:pt idx="36">
                  <c:v>1205.9650307981813</c:v>
                </c:pt>
                <c:pt idx="37">
                  <c:v>1475.5589902443255</c:v>
                </c:pt>
                <c:pt idx="38">
                  <c:v>1654.1770880994457</c:v>
                </c:pt>
                <c:pt idx="39">
                  <c:v>1889.8180431715166</c:v>
                </c:pt>
                <c:pt idx="40">
                  <c:v>1791.6210114503599</c:v>
                </c:pt>
                <c:pt idx="41">
                  <c:v>1791.6210114503599</c:v>
                </c:pt>
                <c:pt idx="42">
                  <c:v>1791.6210114503599</c:v>
                </c:pt>
                <c:pt idx="43">
                  <c:v>2229.4380870225673</c:v>
                </c:pt>
                <c:pt idx="44">
                  <c:v>2698.9416510803526</c:v>
                </c:pt>
                <c:pt idx="45">
                  <c:v>2590.1295816716065</c:v>
                </c:pt>
                <c:pt idx="46">
                  <c:v>2347.1636833302623</c:v>
                </c:pt>
                <c:pt idx="47">
                  <c:v>2630.5416056780532</c:v>
                </c:pt>
                <c:pt idx="48">
                  <c:v>2630.5416056780532</c:v>
                </c:pt>
                <c:pt idx="49">
                  <c:v>2630.5416056780532</c:v>
                </c:pt>
                <c:pt idx="50">
                  <c:v>2721.8470408416633</c:v>
                </c:pt>
                <c:pt idx="51">
                  <c:v>2533.4049949954701</c:v>
                </c:pt>
                <c:pt idx="52">
                  <c:v>2533.4049949954701</c:v>
                </c:pt>
                <c:pt idx="53">
                  <c:v>2990.9744983400901</c:v>
                </c:pt>
                <c:pt idx="54">
                  <c:v>2990.9744983400901</c:v>
                </c:pt>
                <c:pt idx="55">
                  <c:v>2990.9744983400901</c:v>
                </c:pt>
                <c:pt idx="56">
                  <c:v>2990.9744983400901</c:v>
                </c:pt>
              </c:numCache>
            </c:numRef>
          </c:val>
          <c:smooth val="1"/>
          <c:extLst>
            <c:ext xmlns:c16="http://schemas.microsoft.com/office/drawing/2014/chart" uri="{C3380CC4-5D6E-409C-BE32-E72D297353CC}">
              <c16:uniqueId val="{00000001-2521-4704-8001-83623E5F1097}"/>
            </c:ext>
          </c:extLst>
        </c:ser>
        <c:ser>
          <c:idx val="2"/>
          <c:order val="2"/>
          <c:tx>
            <c:strRef>
              <c:f>Sheet1!$D$1</c:f>
              <c:strCache>
                <c:ptCount val="1"/>
                <c:pt idx="0">
                  <c:v>Fall River</c:v>
                </c:pt>
              </c:strCache>
            </c:strRef>
          </c:tx>
          <c:spPr>
            <a:ln w="19050" cap="rnd">
              <a:solidFill>
                <a:schemeClr val="bg2">
                  <a:lumMod val="75000"/>
                </a:schemeClr>
              </a:solidFill>
              <a:round/>
            </a:ln>
            <a:effectLst/>
          </c:spPr>
          <c:marker>
            <c:symbol val="none"/>
          </c:marker>
          <c:cat>
            <c:numRef>
              <c:f>Sheet1!$A$2:$A$60</c:f>
              <c:numCache>
                <c:formatCode>m/d/yyyy</c:formatCode>
                <c:ptCount val="59"/>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formatCode="d\-mmm">
                  <c:v>44791</c:v>
                </c:pt>
                <c:pt idx="18" formatCode="d\-mmm">
                  <c:v>44792</c:v>
                </c:pt>
                <c:pt idx="19" formatCode="d\-mmm">
                  <c:v>44793</c:v>
                </c:pt>
                <c:pt idx="20" formatCode="d\-mmm">
                  <c:v>44794</c:v>
                </c:pt>
                <c:pt idx="21" formatCode="d\-mmm">
                  <c:v>44795</c:v>
                </c:pt>
                <c:pt idx="22" formatCode="d\-mmm">
                  <c:v>44796</c:v>
                </c:pt>
                <c:pt idx="23" formatCode="d\-mmm">
                  <c:v>44797</c:v>
                </c:pt>
                <c:pt idx="24" formatCode="d\-mmm">
                  <c:v>44798</c:v>
                </c:pt>
                <c:pt idx="25" formatCode="d\-mmm">
                  <c:v>44799</c:v>
                </c:pt>
                <c:pt idx="26" formatCode="d\-mmm">
                  <c:v>44800</c:v>
                </c:pt>
                <c:pt idx="27" formatCode="d\-mmm">
                  <c:v>44801</c:v>
                </c:pt>
                <c:pt idx="28" formatCode="d\-mmm">
                  <c:v>44802</c:v>
                </c:pt>
                <c:pt idx="29" formatCode="d\-mmm">
                  <c:v>44803</c:v>
                </c:pt>
                <c:pt idx="30" formatCode="d\-mmm">
                  <c:v>44804</c:v>
                </c:pt>
                <c:pt idx="31" formatCode="d\-mmm">
                  <c:v>44805</c:v>
                </c:pt>
                <c:pt idx="32" formatCode="d\-mmm">
                  <c:v>44806</c:v>
                </c:pt>
                <c:pt idx="33" formatCode="d\-mmm">
                  <c:v>44807</c:v>
                </c:pt>
                <c:pt idx="34" formatCode="d\-mmm">
                  <c:v>44808</c:v>
                </c:pt>
                <c:pt idx="35" formatCode="d\-mmm">
                  <c:v>44809</c:v>
                </c:pt>
                <c:pt idx="36" formatCode="d\-mmm">
                  <c:v>44810</c:v>
                </c:pt>
                <c:pt idx="37" formatCode="d\-mmm">
                  <c:v>44811</c:v>
                </c:pt>
                <c:pt idx="38" formatCode="d\-mmm">
                  <c:v>44812</c:v>
                </c:pt>
                <c:pt idx="39" formatCode="d\-mmm">
                  <c:v>44813</c:v>
                </c:pt>
                <c:pt idx="40" formatCode="d\-mmm">
                  <c:v>44814</c:v>
                </c:pt>
                <c:pt idx="41" formatCode="d\-mmm">
                  <c:v>44815</c:v>
                </c:pt>
                <c:pt idx="42" formatCode="d\-mmm">
                  <c:v>44816</c:v>
                </c:pt>
                <c:pt idx="43" formatCode="d\-mmm">
                  <c:v>44817</c:v>
                </c:pt>
                <c:pt idx="44" formatCode="d\-mmm">
                  <c:v>44818</c:v>
                </c:pt>
                <c:pt idx="45">
                  <c:v>44819</c:v>
                </c:pt>
                <c:pt idx="46">
                  <c:v>44820</c:v>
                </c:pt>
                <c:pt idx="47">
                  <c:v>44821</c:v>
                </c:pt>
                <c:pt idx="48">
                  <c:v>44822</c:v>
                </c:pt>
                <c:pt idx="49">
                  <c:v>44823</c:v>
                </c:pt>
                <c:pt idx="50">
                  <c:v>44824</c:v>
                </c:pt>
                <c:pt idx="51">
                  <c:v>44825</c:v>
                </c:pt>
                <c:pt idx="52">
                  <c:v>44826</c:v>
                </c:pt>
                <c:pt idx="53">
                  <c:v>44827</c:v>
                </c:pt>
                <c:pt idx="54">
                  <c:v>44828</c:v>
                </c:pt>
                <c:pt idx="55">
                  <c:v>44829</c:v>
                </c:pt>
                <c:pt idx="56">
                  <c:v>44830</c:v>
                </c:pt>
              </c:numCache>
            </c:numRef>
          </c:cat>
          <c:val>
            <c:numRef>
              <c:f>Sheet1!$D$2:$D$60</c:f>
              <c:numCache>
                <c:formatCode>0</c:formatCode>
                <c:ptCount val="59"/>
                <c:pt idx="22">
                  <c:v>359.10758614019198</c:v>
                </c:pt>
                <c:pt idx="23">
                  <c:v>311.08544287909899</c:v>
                </c:pt>
                <c:pt idx="24">
                  <c:v>311.08544287909899</c:v>
                </c:pt>
                <c:pt idx="25">
                  <c:v>311.08544287909899</c:v>
                </c:pt>
                <c:pt idx="26">
                  <c:v>311.08544287909899</c:v>
                </c:pt>
                <c:pt idx="27">
                  <c:v>311.08544287909899</c:v>
                </c:pt>
                <c:pt idx="28">
                  <c:v>311.85778857477067</c:v>
                </c:pt>
                <c:pt idx="29">
                  <c:v>589.98955947625325</c:v>
                </c:pt>
                <c:pt idx="30">
                  <c:v>707.29551082764965</c:v>
                </c:pt>
                <c:pt idx="31">
                  <c:v>729.19230128680726</c:v>
                </c:pt>
                <c:pt idx="32">
                  <c:v>882.84441334405983</c:v>
                </c:pt>
                <c:pt idx="33">
                  <c:v>846.89396607851938</c:v>
                </c:pt>
                <c:pt idx="34">
                  <c:v>846.89396607851938</c:v>
                </c:pt>
                <c:pt idx="35">
                  <c:v>850.93304650757284</c:v>
                </c:pt>
                <c:pt idx="36">
                  <c:v>740.9183969246352</c:v>
                </c:pt>
                <c:pt idx="37">
                  <c:v>724.94811818736571</c:v>
                </c:pt>
                <c:pt idx="38">
                  <c:v>769.79869579518072</c:v>
                </c:pt>
                <c:pt idx="39">
                  <c:v>637.12677536330909</c:v>
                </c:pt>
                <c:pt idx="40">
                  <c:v>631.12378448580762</c:v>
                </c:pt>
                <c:pt idx="41">
                  <c:v>631.12378448580762</c:v>
                </c:pt>
                <c:pt idx="42">
                  <c:v>808.45321256665659</c:v>
                </c:pt>
                <c:pt idx="43">
                  <c:v>811.86421451449314</c:v>
                </c:pt>
                <c:pt idx="44">
                  <c:v>840.48022752724285</c:v>
                </c:pt>
                <c:pt idx="45">
                  <c:v>784.60374983126133</c:v>
                </c:pt>
                <c:pt idx="46">
                  <c:v>812.33122011440128</c:v>
                </c:pt>
                <c:pt idx="47">
                  <c:v>812.33122011440128</c:v>
                </c:pt>
                <c:pt idx="48">
                  <c:v>812.33122011440128</c:v>
                </c:pt>
                <c:pt idx="49">
                  <c:v>854.01566597325802</c:v>
                </c:pt>
                <c:pt idx="50">
                  <c:v>924.41608583458674</c:v>
                </c:pt>
                <c:pt idx="51">
                  <c:v>935.19011169540534</c:v>
                </c:pt>
                <c:pt idx="52">
                  <c:v>935.19011169540534</c:v>
                </c:pt>
                <c:pt idx="53">
                  <c:v>935.19011169540534</c:v>
                </c:pt>
                <c:pt idx="54">
                  <c:v>935.19011169540534</c:v>
                </c:pt>
                <c:pt idx="55">
                  <c:v>935.19011169540534</c:v>
                </c:pt>
                <c:pt idx="56">
                  <c:v>728.11644728248302</c:v>
                </c:pt>
              </c:numCache>
            </c:numRef>
          </c:val>
          <c:smooth val="0"/>
          <c:extLst>
            <c:ext xmlns:c16="http://schemas.microsoft.com/office/drawing/2014/chart" uri="{C3380CC4-5D6E-409C-BE32-E72D297353CC}">
              <c16:uniqueId val="{00000001-5BC7-4DE3-8D0A-1637EA1F0CCD}"/>
            </c:ext>
          </c:extLst>
        </c:ser>
        <c:ser>
          <c:idx val="3"/>
          <c:order val="3"/>
          <c:tx>
            <c:strRef>
              <c:f>Sheet1!$E$1</c:f>
              <c:strCache>
                <c:ptCount val="1"/>
                <c:pt idx="0">
                  <c:v>New Bedford</c:v>
                </c:pt>
              </c:strCache>
            </c:strRef>
          </c:tx>
          <c:spPr>
            <a:ln w="19050" cap="rnd">
              <a:solidFill>
                <a:srgbClr val="F339DD"/>
              </a:solidFill>
              <a:round/>
            </a:ln>
            <a:effectLst/>
          </c:spPr>
          <c:marker>
            <c:symbol val="none"/>
          </c:marker>
          <c:cat>
            <c:numRef>
              <c:f>Sheet1!$A$2:$A$60</c:f>
              <c:numCache>
                <c:formatCode>m/d/yyyy</c:formatCode>
                <c:ptCount val="59"/>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formatCode="d\-mmm">
                  <c:v>44791</c:v>
                </c:pt>
                <c:pt idx="18" formatCode="d\-mmm">
                  <c:v>44792</c:v>
                </c:pt>
                <c:pt idx="19" formatCode="d\-mmm">
                  <c:v>44793</c:v>
                </c:pt>
                <c:pt idx="20" formatCode="d\-mmm">
                  <c:v>44794</c:v>
                </c:pt>
                <c:pt idx="21" formatCode="d\-mmm">
                  <c:v>44795</c:v>
                </c:pt>
                <c:pt idx="22" formatCode="d\-mmm">
                  <c:v>44796</c:v>
                </c:pt>
                <c:pt idx="23" formatCode="d\-mmm">
                  <c:v>44797</c:v>
                </c:pt>
                <c:pt idx="24" formatCode="d\-mmm">
                  <c:v>44798</c:v>
                </c:pt>
                <c:pt idx="25" formatCode="d\-mmm">
                  <c:v>44799</c:v>
                </c:pt>
                <c:pt idx="26" formatCode="d\-mmm">
                  <c:v>44800</c:v>
                </c:pt>
                <c:pt idx="27" formatCode="d\-mmm">
                  <c:v>44801</c:v>
                </c:pt>
                <c:pt idx="28" formatCode="d\-mmm">
                  <c:v>44802</c:v>
                </c:pt>
                <c:pt idx="29" formatCode="d\-mmm">
                  <c:v>44803</c:v>
                </c:pt>
                <c:pt idx="30" formatCode="d\-mmm">
                  <c:v>44804</c:v>
                </c:pt>
                <c:pt idx="31" formatCode="d\-mmm">
                  <c:v>44805</c:v>
                </c:pt>
                <c:pt idx="32" formatCode="d\-mmm">
                  <c:v>44806</c:v>
                </c:pt>
                <c:pt idx="33" formatCode="d\-mmm">
                  <c:v>44807</c:v>
                </c:pt>
                <c:pt idx="34" formatCode="d\-mmm">
                  <c:v>44808</c:v>
                </c:pt>
                <c:pt idx="35" formatCode="d\-mmm">
                  <c:v>44809</c:v>
                </c:pt>
                <c:pt idx="36" formatCode="d\-mmm">
                  <c:v>44810</c:v>
                </c:pt>
                <c:pt idx="37" formatCode="d\-mmm">
                  <c:v>44811</c:v>
                </c:pt>
                <c:pt idx="38" formatCode="d\-mmm">
                  <c:v>44812</c:v>
                </c:pt>
                <c:pt idx="39" formatCode="d\-mmm">
                  <c:v>44813</c:v>
                </c:pt>
                <c:pt idx="40" formatCode="d\-mmm">
                  <c:v>44814</c:v>
                </c:pt>
                <c:pt idx="41" formatCode="d\-mmm">
                  <c:v>44815</c:v>
                </c:pt>
                <c:pt idx="42" formatCode="d\-mmm">
                  <c:v>44816</c:v>
                </c:pt>
                <c:pt idx="43" formatCode="d\-mmm">
                  <c:v>44817</c:v>
                </c:pt>
                <c:pt idx="44" formatCode="d\-mmm">
                  <c:v>44818</c:v>
                </c:pt>
                <c:pt idx="45">
                  <c:v>44819</c:v>
                </c:pt>
                <c:pt idx="46">
                  <c:v>44820</c:v>
                </c:pt>
                <c:pt idx="47">
                  <c:v>44821</c:v>
                </c:pt>
                <c:pt idx="48">
                  <c:v>44822</c:v>
                </c:pt>
                <c:pt idx="49">
                  <c:v>44823</c:v>
                </c:pt>
                <c:pt idx="50">
                  <c:v>44824</c:v>
                </c:pt>
                <c:pt idx="51">
                  <c:v>44825</c:v>
                </c:pt>
                <c:pt idx="52">
                  <c:v>44826</c:v>
                </c:pt>
                <c:pt idx="53">
                  <c:v>44827</c:v>
                </c:pt>
                <c:pt idx="54">
                  <c:v>44828</c:v>
                </c:pt>
                <c:pt idx="55">
                  <c:v>44829</c:v>
                </c:pt>
                <c:pt idx="56">
                  <c:v>44830</c:v>
                </c:pt>
              </c:numCache>
            </c:numRef>
          </c:cat>
          <c:val>
            <c:numRef>
              <c:f>Sheet1!$E$2:$E$60</c:f>
              <c:numCache>
                <c:formatCode>General</c:formatCode>
                <c:ptCount val="59"/>
                <c:pt idx="22" formatCode="0">
                  <c:v>419.05770000000001</c:v>
                </c:pt>
                <c:pt idx="23" formatCode="0">
                  <c:v>516.47310000000004</c:v>
                </c:pt>
                <c:pt idx="24" formatCode="0">
                  <c:v>516.47310000000004</c:v>
                </c:pt>
                <c:pt idx="25" formatCode="0">
                  <c:v>516.47310000000004</c:v>
                </c:pt>
                <c:pt idx="26" formatCode="0">
                  <c:v>516.47310000000004</c:v>
                </c:pt>
                <c:pt idx="27" formatCode="0">
                  <c:v>516.47310000000004</c:v>
                </c:pt>
                <c:pt idx="28" formatCode="0">
                  <c:v>516.47310000000004</c:v>
                </c:pt>
                <c:pt idx="29" formatCode="0">
                  <c:v>567.72720418236702</c:v>
                </c:pt>
                <c:pt idx="30" formatCode="0">
                  <c:v>441.70006006480548</c:v>
                </c:pt>
                <c:pt idx="31" formatCode="0">
                  <c:v>441.70006006480548</c:v>
                </c:pt>
                <c:pt idx="32" formatCode="0">
                  <c:v>441.70006006480548</c:v>
                </c:pt>
                <c:pt idx="33" formatCode="0">
                  <c:v>441.70006006480548</c:v>
                </c:pt>
                <c:pt idx="34" formatCode="0">
                  <c:v>441.70006006480548</c:v>
                </c:pt>
                <c:pt idx="35" formatCode="0">
                  <c:v>441.70006006480548</c:v>
                </c:pt>
                <c:pt idx="36" formatCode="0">
                  <c:v>458.17628191843301</c:v>
                </c:pt>
                <c:pt idx="37" formatCode="0">
                  <c:v>640.78455661664395</c:v>
                </c:pt>
                <c:pt idx="38" formatCode="0">
                  <c:v>640.78455661664395</c:v>
                </c:pt>
                <c:pt idx="39" formatCode="0">
                  <c:v>640.78455661664395</c:v>
                </c:pt>
                <c:pt idx="40" formatCode="0">
                  <c:v>640.78455661664395</c:v>
                </c:pt>
                <c:pt idx="41" formatCode="0">
                  <c:v>640.78455661664395</c:v>
                </c:pt>
                <c:pt idx="42" formatCode="0">
                  <c:v>640.78455661664395</c:v>
                </c:pt>
                <c:pt idx="43" formatCode="0">
                  <c:v>994.15547334736448</c:v>
                </c:pt>
                <c:pt idx="44" formatCode="0">
                  <c:v>1140.8097572055899</c:v>
                </c:pt>
                <c:pt idx="45" formatCode="0">
                  <c:v>1140.8097572055899</c:v>
                </c:pt>
                <c:pt idx="46" formatCode="0">
                  <c:v>1140.8097572055899</c:v>
                </c:pt>
                <c:pt idx="47" formatCode="0">
                  <c:v>1140.8097572055899</c:v>
                </c:pt>
                <c:pt idx="48" formatCode="0">
                  <c:v>1140.8097572055899</c:v>
                </c:pt>
                <c:pt idx="49" formatCode="0">
                  <c:v>1140.8097572055899</c:v>
                </c:pt>
                <c:pt idx="50" formatCode="0">
                  <c:v>1019.7509010430949</c:v>
                </c:pt>
                <c:pt idx="51" formatCode="0">
                  <c:v>738.26495309107452</c:v>
                </c:pt>
                <c:pt idx="52" formatCode="0">
                  <c:v>738.26495309107452</c:v>
                </c:pt>
                <c:pt idx="53" formatCode="0">
                  <c:v>738.26495309107452</c:v>
                </c:pt>
                <c:pt idx="54" formatCode="0">
                  <c:v>738.26495309107452</c:v>
                </c:pt>
                <c:pt idx="55" formatCode="0">
                  <c:v>738.26495309107452</c:v>
                </c:pt>
                <c:pt idx="56" formatCode="0">
                  <c:v>738.26495309107452</c:v>
                </c:pt>
              </c:numCache>
            </c:numRef>
          </c:val>
          <c:smooth val="0"/>
          <c:extLst>
            <c:ext xmlns:c16="http://schemas.microsoft.com/office/drawing/2014/chart" uri="{C3380CC4-5D6E-409C-BE32-E72D297353CC}">
              <c16:uniqueId val="{00000002-5BC7-4DE3-8D0A-1637EA1F0CCD}"/>
            </c:ext>
          </c:extLst>
        </c:ser>
        <c:dLbls>
          <c:showLegendKey val="0"/>
          <c:showVal val="0"/>
          <c:showCatName val="0"/>
          <c:showSerName val="0"/>
          <c:showPercent val="0"/>
          <c:showBubbleSize val="0"/>
        </c:dLbls>
        <c:marker val="1"/>
        <c:smooth val="0"/>
        <c:axId val="494445784"/>
        <c:axId val="494447424"/>
      </c:lineChart>
      <c:lineChart>
        <c:grouping val="standard"/>
        <c:varyColors val="0"/>
        <c:ser>
          <c:idx val="4"/>
          <c:order val="4"/>
          <c:tx>
            <c:strRef>
              <c:f>Sheet1!$F$1</c:f>
              <c:strCache>
                <c:ptCount val="1"/>
                <c:pt idx="0">
                  <c:v>Plymouth</c:v>
                </c:pt>
              </c:strCache>
            </c:strRef>
          </c:tx>
          <c:spPr>
            <a:ln w="19050" cap="rnd">
              <a:solidFill>
                <a:schemeClr val="accent5"/>
              </a:solidFill>
              <a:round/>
            </a:ln>
            <a:effectLst/>
          </c:spPr>
          <c:marker>
            <c:symbol val="none"/>
          </c:marker>
          <c:cat>
            <c:numRef>
              <c:f>Sheet1!$A$2:$A$60</c:f>
              <c:numCache>
                <c:formatCode>m/d/yyyy</c:formatCode>
                <c:ptCount val="59"/>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formatCode="d\-mmm">
                  <c:v>44791</c:v>
                </c:pt>
                <c:pt idx="18" formatCode="d\-mmm">
                  <c:v>44792</c:v>
                </c:pt>
                <c:pt idx="19" formatCode="d\-mmm">
                  <c:v>44793</c:v>
                </c:pt>
                <c:pt idx="20" formatCode="d\-mmm">
                  <c:v>44794</c:v>
                </c:pt>
                <c:pt idx="21" formatCode="d\-mmm">
                  <c:v>44795</c:v>
                </c:pt>
                <c:pt idx="22" formatCode="d\-mmm">
                  <c:v>44796</c:v>
                </c:pt>
                <c:pt idx="23" formatCode="d\-mmm">
                  <c:v>44797</c:v>
                </c:pt>
                <c:pt idx="24" formatCode="d\-mmm">
                  <c:v>44798</c:v>
                </c:pt>
                <c:pt idx="25" formatCode="d\-mmm">
                  <c:v>44799</c:v>
                </c:pt>
                <c:pt idx="26" formatCode="d\-mmm">
                  <c:v>44800</c:v>
                </c:pt>
                <c:pt idx="27" formatCode="d\-mmm">
                  <c:v>44801</c:v>
                </c:pt>
                <c:pt idx="28" formatCode="d\-mmm">
                  <c:v>44802</c:v>
                </c:pt>
                <c:pt idx="29" formatCode="d\-mmm">
                  <c:v>44803</c:v>
                </c:pt>
                <c:pt idx="30" formatCode="d\-mmm">
                  <c:v>44804</c:v>
                </c:pt>
                <c:pt idx="31" formatCode="d\-mmm">
                  <c:v>44805</c:v>
                </c:pt>
                <c:pt idx="32" formatCode="d\-mmm">
                  <c:v>44806</c:v>
                </c:pt>
                <c:pt idx="33" formatCode="d\-mmm">
                  <c:v>44807</c:v>
                </c:pt>
                <c:pt idx="34" formatCode="d\-mmm">
                  <c:v>44808</c:v>
                </c:pt>
                <c:pt idx="35" formatCode="d\-mmm">
                  <c:v>44809</c:v>
                </c:pt>
                <c:pt idx="36" formatCode="d\-mmm">
                  <c:v>44810</c:v>
                </c:pt>
                <c:pt idx="37" formatCode="d\-mmm">
                  <c:v>44811</c:v>
                </c:pt>
                <c:pt idx="38" formatCode="d\-mmm">
                  <c:v>44812</c:v>
                </c:pt>
                <c:pt idx="39" formatCode="d\-mmm">
                  <c:v>44813</c:v>
                </c:pt>
                <c:pt idx="40" formatCode="d\-mmm">
                  <c:v>44814</c:v>
                </c:pt>
                <c:pt idx="41" formatCode="d\-mmm">
                  <c:v>44815</c:v>
                </c:pt>
                <c:pt idx="42" formatCode="d\-mmm">
                  <c:v>44816</c:v>
                </c:pt>
                <c:pt idx="43" formatCode="d\-mmm">
                  <c:v>44817</c:v>
                </c:pt>
                <c:pt idx="44" formatCode="d\-mmm">
                  <c:v>44818</c:v>
                </c:pt>
                <c:pt idx="45">
                  <c:v>44819</c:v>
                </c:pt>
                <c:pt idx="46">
                  <c:v>44820</c:v>
                </c:pt>
                <c:pt idx="47">
                  <c:v>44821</c:v>
                </c:pt>
                <c:pt idx="48">
                  <c:v>44822</c:v>
                </c:pt>
                <c:pt idx="49">
                  <c:v>44823</c:v>
                </c:pt>
                <c:pt idx="50">
                  <c:v>44824</c:v>
                </c:pt>
                <c:pt idx="51">
                  <c:v>44825</c:v>
                </c:pt>
                <c:pt idx="52">
                  <c:v>44826</c:v>
                </c:pt>
                <c:pt idx="53">
                  <c:v>44827</c:v>
                </c:pt>
                <c:pt idx="54">
                  <c:v>44828</c:v>
                </c:pt>
                <c:pt idx="55">
                  <c:v>44829</c:v>
                </c:pt>
                <c:pt idx="56">
                  <c:v>44830</c:v>
                </c:pt>
              </c:numCache>
            </c:numRef>
          </c:cat>
          <c:val>
            <c:numRef>
              <c:f>Sheet1!$F$2:$F$60</c:f>
              <c:numCache>
                <c:formatCode>0</c:formatCode>
                <c:ptCount val="59"/>
                <c:pt idx="0">
                  <c:v>1224.0013653999999</c:v>
                </c:pt>
                <c:pt idx="1">
                  <c:v>1446.4876644999999</c:v>
                </c:pt>
                <c:pt idx="2">
                  <c:v>1291.8943784999999</c:v>
                </c:pt>
                <c:pt idx="3">
                  <c:v>1084.1352897500001</c:v>
                </c:pt>
                <c:pt idx="4">
                  <c:v>1098.0870161666669</c:v>
                </c:pt>
                <c:pt idx="5">
                  <c:v>1098.0870161666669</c:v>
                </c:pt>
                <c:pt idx="6">
                  <c:v>1098.0870161666669</c:v>
                </c:pt>
                <c:pt idx="7">
                  <c:v>1054.34913775</c:v>
                </c:pt>
                <c:pt idx="8">
                  <c:v>1054.34913775</c:v>
                </c:pt>
                <c:pt idx="9">
                  <c:v>843</c:v>
                </c:pt>
                <c:pt idx="10">
                  <c:v>843</c:v>
                </c:pt>
                <c:pt idx="11">
                  <c:v>561</c:v>
                </c:pt>
                <c:pt idx="12">
                  <c:v>561</c:v>
                </c:pt>
                <c:pt idx="13">
                  <c:v>560.71915648161007</c:v>
                </c:pt>
                <c:pt idx="14">
                  <c:v>560.71915648161007</c:v>
                </c:pt>
                <c:pt idx="15">
                  <c:v>560.71915648161007</c:v>
                </c:pt>
                <c:pt idx="16">
                  <c:v>560.71915648161007</c:v>
                </c:pt>
                <c:pt idx="17">
                  <c:v>964.60239390816798</c:v>
                </c:pt>
                <c:pt idx="18">
                  <c:v>964.60239390816798</c:v>
                </c:pt>
                <c:pt idx="19">
                  <c:v>964.60239390816798</c:v>
                </c:pt>
                <c:pt idx="20">
                  <c:v>964.60239390816798</c:v>
                </c:pt>
                <c:pt idx="21">
                  <c:v>964.60239390816798</c:v>
                </c:pt>
                <c:pt idx="22">
                  <c:v>591.84445029000995</c:v>
                </c:pt>
                <c:pt idx="23">
                  <c:v>665.52553045121601</c:v>
                </c:pt>
                <c:pt idx="24">
                  <c:v>448.6414773820693</c:v>
                </c:pt>
                <c:pt idx="25">
                  <c:v>448.6414773820693</c:v>
                </c:pt>
                <c:pt idx="26">
                  <c:v>448.6414773820693</c:v>
                </c:pt>
                <c:pt idx="27">
                  <c:v>448.6414773820693</c:v>
                </c:pt>
                <c:pt idx="28">
                  <c:v>448.6414773820693</c:v>
                </c:pt>
                <c:pt idx="29">
                  <c:v>702.60181310020619</c:v>
                </c:pt>
                <c:pt idx="30">
                  <c:v>703.82869412224272</c:v>
                </c:pt>
                <c:pt idx="31">
                  <c:v>2810.0256329921867</c:v>
                </c:pt>
                <c:pt idx="32">
                  <c:v>2289.5488329050445</c:v>
                </c:pt>
                <c:pt idx="33">
                  <c:v>2289.5488329050445</c:v>
                </c:pt>
                <c:pt idx="34">
                  <c:v>2289.5488329050445</c:v>
                </c:pt>
                <c:pt idx="35">
                  <c:v>2289.5488329050445</c:v>
                </c:pt>
                <c:pt idx="36">
                  <c:v>2365.3480716907911</c:v>
                </c:pt>
                <c:pt idx="37">
                  <c:v>2881.6079843078091</c:v>
                </c:pt>
                <c:pt idx="38">
                  <c:v>1679.2202536398192</c:v>
                </c:pt>
                <c:pt idx="39">
                  <c:v>2154.7711641379201</c:v>
                </c:pt>
                <c:pt idx="40">
                  <c:v>2154.7711641379201</c:v>
                </c:pt>
                <c:pt idx="41">
                  <c:v>2154.7711641379201</c:v>
                </c:pt>
                <c:pt idx="42">
                  <c:v>2154.7711641379201</c:v>
                </c:pt>
                <c:pt idx="43">
                  <c:v>2031.0996591609401</c:v>
                </c:pt>
                <c:pt idx="44">
                  <c:v>1605.5732543713686</c:v>
                </c:pt>
                <c:pt idx="45">
                  <c:v>793.63312965375792</c:v>
                </c:pt>
                <c:pt idx="46">
                  <c:v>793.63312965375792</c:v>
                </c:pt>
                <c:pt idx="47">
                  <c:v>793.63312965375792</c:v>
                </c:pt>
                <c:pt idx="48">
                  <c:v>793.63312965375792</c:v>
                </c:pt>
                <c:pt idx="49">
                  <c:v>793.63312965375792</c:v>
                </c:pt>
                <c:pt idx="50">
                  <c:v>672.03896497299195</c:v>
                </c:pt>
                <c:pt idx="51">
                  <c:v>589.55748515375797</c:v>
                </c:pt>
              </c:numCache>
            </c:numRef>
          </c:val>
          <c:smooth val="0"/>
          <c:extLst xmlns:c15="http://schemas.microsoft.com/office/drawing/2012/chart">
            <c:ext xmlns:c16="http://schemas.microsoft.com/office/drawing/2014/chart" uri="{C3380CC4-5D6E-409C-BE32-E72D297353CC}">
              <c16:uniqueId val="{00000003-5BC7-4DE3-8D0A-1637EA1F0CCD}"/>
            </c:ext>
          </c:extLst>
        </c:ser>
        <c:ser>
          <c:idx val="5"/>
          <c:order val="5"/>
          <c:tx>
            <c:strRef>
              <c:f>Sheet1!$G$1</c:f>
              <c:strCache>
                <c:ptCount val="1"/>
                <c:pt idx="0">
                  <c:v>Provincetown</c:v>
                </c:pt>
              </c:strCache>
            </c:strRef>
          </c:tx>
          <c:spPr>
            <a:ln w="19050" cap="rnd">
              <a:solidFill>
                <a:schemeClr val="accent6"/>
              </a:solidFill>
              <a:round/>
            </a:ln>
            <a:effectLst/>
          </c:spPr>
          <c:marker>
            <c:symbol val="none"/>
          </c:marker>
          <c:dPt>
            <c:idx val="20"/>
            <c:marker>
              <c:symbol val="none"/>
            </c:marker>
            <c:bubble3D val="0"/>
            <c:extLst>
              <c:ext xmlns:c16="http://schemas.microsoft.com/office/drawing/2014/chart" uri="{C3380CC4-5D6E-409C-BE32-E72D297353CC}">
                <c16:uniqueId val="{00000000-BDC5-41F3-AF02-EFEA71363EF3}"/>
              </c:ext>
            </c:extLst>
          </c:dPt>
          <c:cat>
            <c:numRef>
              <c:f>Sheet1!$A$2:$A$60</c:f>
              <c:numCache>
                <c:formatCode>m/d/yyyy</c:formatCode>
                <c:ptCount val="59"/>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formatCode="d\-mmm">
                  <c:v>44791</c:v>
                </c:pt>
                <c:pt idx="18" formatCode="d\-mmm">
                  <c:v>44792</c:v>
                </c:pt>
                <c:pt idx="19" formatCode="d\-mmm">
                  <c:v>44793</c:v>
                </c:pt>
                <c:pt idx="20" formatCode="d\-mmm">
                  <c:v>44794</c:v>
                </c:pt>
                <c:pt idx="21" formatCode="d\-mmm">
                  <c:v>44795</c:v>
                </c:pt>
                <c:pt idx="22" formatCode="d\-mmm">
                  <c:v>44796</c:v>
                </c:pt>
                <c:pt idx="23" formatCode="d\-mmm">
                  <c:v>44797</c:v>
                </c:pt>
                <c:pt idx="24" formatCode="d\-mmm">
                  <c:v>44798</c:v>
                </c:pt>
                <c:pt idx="25" formatCode="d\-mmm">
                  <c:v>44799</c:v>
                </c:pt>
                <c:pt idx="26" formatCode="d\-mmm">
                  <c:v>44800</c:v>
                </c:pt>
                <c:pt idx="27" formatCode="d\-mmm">
                  <c:v>44801</c:v>
                </c:pt>
                <c:pt idx="28" formatCode="d\-mmm">
                  <c:v>44802</c:v>
                </c:pt>
                <c:pt idx="29" formatCode="d\-mmm">
                  <c:v>44803</c:v>
                </c:pt>
                <c:pt idx="30" formatCode="d\-mmm">
                  <c:v>44804</c:v>
                </c:pt>
                <c:pt idx="31" formatCode="d\-mmm">
                  <c:v>44805</c:v>
                </c:pt>
                <c:pt idx="32" formatCode="d\-mmm">
                  <c:v>44806</c:v>
                </c:pt>
                <c:pt idx="33" formatCode="d\-mmm">
                  <c:v>44807</c:v>
                </c:pt>
                <c:pt idx="34" formatCode="d\-mmm">
                  <c:v>44808</c:v>
                </c:pt>
                <c:pt idx="35" formatCode="d\-mmm">
                  <c:v>44809</c:v>
                </c:pt>
                <c:pt idx="36" formatCode="d\-mmm">
                  <c:v>44810</c:v>
                </c:pt>
                <c:pt idx="37" formatCode="d\-mmm">
                  <c:v>44811</c:v>
                </c:pt>
                <c:pt idx="38" formatCode="d\-mmm">
                  <c:v>44812</c:v>
                </c:pt>
                <c:pt idx="39" formatCode="d\-mmm">
                  <c:v>44813</c:v>
                </c:pt>
                <c:pt idx="40" formatCode="d\-mmm">
                  <c:v>44814</c:v>
                </c:pt>
                <c:pt idx="41" formatCode="d\-mmm">
                  <c:v>44815</c:v>
                </c:pt>
                <c:pt idx="42" formatCode="d\-mmm">
                  <c:v>44816</c:v>
                </c:pt>
                <c:pt idx="43" formatCode="d\-mmm">
                  <c:v>44817</c:v>
                </c:pt>
                <c:pt idx="44" formatCode="d\-mmm">
                  <c:v>44818</c:v>
                </c:pt>
                <c:pt idx="45">
                  <c:v>44819</c:v>
                </c:pt>
                <c:pt idx="46">
                  <c:v>44820</c:v>
                </c:pt>
                <c:pt idx="47">
                  <c:v>44821</c:v>
                </c:pt>
                <c:pt idx="48">
                  <c:v>44822</c:v>
                </c:pt>
                <c:pt idx="49">
                  <c:v>44823</c:v>
                </c:pt>
                <c:pt idx="50">
                  <c:v>44824</c:v>
                </c:pt>
                <c:pt idx="51">
                  <c:v>44825</c:v>
                </c:pt>
                <c:pt idx="52">
                  <c:v>44826</c:v>
                </c:pt>
                <c:pt idx="53">
                  <c:v>44827</c:v>
                </c:pt>
                <c:pt idx="54">
                  <c:v>44828</c:v>
                </c:pt>
                <c:pt idx="55">
                  <c:v>44829</c:v>
                </c:pt>
                <c:pt idx="56">
                  <c:v>44830</c:v>
                </c:pt>
              </c:numCache>
            </c:numRef>
          </c:cat>
          <c:val>
            <c:numRef>
              <c:f>Sheet1!$G$2:$G$60</c:f>
              <c:numCache>
                <c:formatCode>0</c:formatCode>
                <c:ptCount val="59"/>
                <c:pt idx="0">
                  <c:v>1017.1837929999999</c:v>
                </c:pt>
                <c:pt idx="1">
                  <c:v>1017.1837929999999</c:v>
                </c:pt>
                <c:pt idx="2">
                  <c:v>1017.1837929999999</c:v>
                </c:pt>
                <c:pt idx="3">
                  <c:v>1017.1837929999999</c:v>
                </c:pt>
                <c:pt idx="4">
                  <c:v>1017.1837929999999</c:v>
                </c:pt>
                <c:pt idx="5">
                  <c:v>1017.1837929999999</c:v>
                </c:pt>
                <c:pt idx="6">
                  <c:v>1115.669224</c:v>
                </c:pt>
                <c:pt idx="7">
                  <c:v>1115.669224</c:v>
                </c:pt>
                <c:pt idx="8">
                  <c:v>1115.669224</c:v>
                </c:pt>
                <c:pt idx="9">
                  <c:v>1116</c:v>
                </c:pt>
                <c:pt idx="10">
                  <c:v>1116</c:v>
                </c:pt>
                <c:pt idx="11">
                  <c:v>1116</c:v>
                </c:pt>
                <c:pt idx="12">
                  <c:v>1116</c:v>
                </c:pt>
                <c:pt idx="13">
                  <c:v>1052.6651900911102</c:v>
                </c:pt>
                <c:pt idx="14">
                  <c:v>1052.6651900911102</c:v>
                </c:pt>
                <c:pt idx="15">
                  <c:v>1052.6651900911102</c:v>
                </c:pt>
                <c:pt idx="16">
                  <c:v>1052.6651900911102</c:v>
                </c:pt>
                <c:pt idx="17">
                  <c:v>1052.6651900911102</c:v>
                </c:pt>
                <c:pt idx="18">
                  <c:v>1052.6651900911102</c:v>
                </c:pt>
                <c:pt idx="19">
                  <c:v>1052.6651900911102</c:v>
                </c:pt>
                <c:pt idx="20">
                  <c:v>3428.08640382259</c:v>
                </c:pt>
                <c:pt idx="21">
                  <c:v>3428.08640382259</c:v>
                </c:pt>
                <c:pt idx="22">
                  <c:v>3428</c:v>
                </c:pt>
                <c:pt idx="23">
                  <c:v>3428</c:v>
                </c:pt>
                <c:pt idx="24">
                  <c:v>3428</c:v>
                </c:pt>
                <c:pt idx="25">
                  <c:v>3428</c:v>
                </c:pt>
                <c:pt idx="26">
                  <c:v>3428</c:v>
                </c:pt>
                <c:pt idx="36">
                  <c:v>471.71453489090004</c:v>
                </c:pt>
                <c:pt idx="37">
                  <c:v>471.71453489090004</c:v>
                </c:pt>
                <c:pt idx="38">
                  <c:v>1748.5461970987453</c:v>
                </c:pt>
                <c:pt idx="39">
                  <c:v>1748.5461970987453</c:v>
                </c:pt>
                <c:pt idx="40">
                  <c:v>1748.5461970987453</c:v>
                </c:pt>
                <c:pt idx="41">
                  <c:v>1748.5461970987453</c:v>
                </c:pt>
                <c:pt idx="42">
                  <c:v>1748.5461970987453</c:v>
                </c:pt>
                <c:pt idx="43">
                  <c:v>2220.29199384196</c:v>
                </c:pt>
                <c:pt idx="44">
                  <c:v>2220.29199384196</c:v>
                </c:pt>
                <c:pt idx="45">
                  <c:v>1415.2061283773301</c:v>
                </c:pt>
                <c:pt idx="46">
                  <c:v>1415.2061283773301</c:v>
                </c:pt>
                <c:pt idx="47">
                  <c:v>1415.2061283773301</c:v>
                </c:pt>
                <c:pt idx="48">
                  <c:v>1415.2061283773301</c:v>
                </c:pt>
                <c:pt idx="49">
                  <c:v>1415.2061283773301</c:v>
                </c:pt>
                <c:pt idx="52">
                  <c:v>1093.3844862861401</c:v>
                </c:pt>
                <c:pt idx="53">
                  <c:v>1093.3844862861401</c:v>
                </c:pt>
                <c:pt idx="54">
                  <c:v>1093.3844862861401</c:v>
                </c:pt>
                <c:pt idx="55">
                  <c:v>1093.3844862861401</c:v>
                </c:pt>
                <c:pt idx="56">
                  <c:v>1093.3844862861401</c:v>
                </c:pt>
              </c:numCache>
            </c:numRef>
          </c:val>
          <c:smooth val="0"/>
          <c:extLst>
            <c:ext xmlns:c16="http://schemas.microsoft.com/office/drawing/2014/chart" uri="{C3380CC4-5D6E-409C-BE32-E72D297353CC}">
              <c16:uniqueId val="{00000000-A620-4CF7-AAAB-FF8471D140AA}"/>
            </c:ext>
          </c:extLst>
        </c:ser>
        <c:ser>
          <c:idx val="6"/>
          <c:order val="6"/>
          <c:tx>
            <c:strRef>
              <c:f>Sheet1!$H$1</c:f>
              <c:strCache>
                <c:ptCount val="1"/>
                <c:pt idx="0">
                  <c:v>Wareham</c:v>
                </c:pt>
              </c:strCache>
            </c:strRef>
          </c:tx>
          <c:spPr>
            <a:ln w="19050" cap="rnd">
              <a:solidFill>
                <a:srgbClr val="000066"/>
              </a:solidFill>
              <a:round/>
            </a:ln>
            <a:effectLst/>
          </c:spPr>
          <c:marker>
            <c:symbol val="none"/>
          </c:marker>
          <c:cat>
            <c:numRef>
              <c:f>Sheet1!$A$2:$A$60</c:f>
              <c:numCache>
                <c:formatCode>m/d/yyyy</c:formatCode>
                <c:ptCount val="59"/>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formatCode="d\-mmm">
                  <c:v>44791</c:v>
                </c:pt>
                <c:pt idx="18" formatCode="d\-mmm">
                  <c:v>44792</c:v>
                </c:pt>
                <c:pt idx="19" formatCode="d\-mmm">
                  <c:v>44793</c:v>
                </c:pt>
                <c:pt idx="20" formatCode="d\-mmm">
                  <c:v>44794</c:v>
                </c:pt>
                <c:pt idx="21" formatCode="d\-mmm">
                  <c:v>44795</c:v>
                </c:pt>
                <c:pt idx="22" formatCode="d\-mmm">
                  <c:v>44796</c:v>
                </c:pt>
                <c:pt idx="23" formatCode="d\-mmm">
                  <c:v>44797</c:v>
                </c:pt>
                <c:pt idx="24" formatCode="d\-mmm">
                  <c:v>44798</c:v>
                </c:pt>
                <c:pt idx="25" formatCode="d\-mmm">
                  <c:v>44799</c:v>
                </c:pt>
                <c:pt idx="26" formatCode="d\-mmm">
                  <c:v>44800</c:v>
                </c:pt>
                <c:pt idx="27" formatCode="d\-mmm">
                  <c:v>44801</c:v>
                </c:pt>
                <c:pt idx="28" formatCode="d\-mmm">
                  <c:v>44802</c:v>
                </c:pt>
                <c:pt idx="29" formatCode="d\-mmm">
                  <c:v>44803</c:v>
                </c:pt>
                <c:pt idx="30" formatCode="d\-mmm">
                  <c:v>44804</c:v>
                </c:pt>
                <c:pt idx="31" formatCode="d\-mmm">
                  <c:v>44805</c:v>
                </c:pt>
                <c:pt idx="32" formatCode="d\-mmm">
                  <c:v>44806</c:v>
                </c:pt>
                <c:pt idx="33" formatCode="d\-mmm">
                  <c:v>44807</c:v>
                </c:pt>
                <c:pt idx="34" formatCode="d\-mmm">
                  <c:v>44808</c:v>
                </c:pt>
                <c:pt idx="35" formatCode="d\-mmm">
                  <c:v>44809</c:v>
                </c:pt>
                <c:pt idx="36" formatCode="d\-mmm">
                  <c:v>44810</c:v>
                </c:pt>
                <c:pt idx="37" formatCode="d\-mmm">
                  <c:v>44811</c:v>
                </c:pt>
                <c:pt idx="38" formatCode="d\-mmm">
                  <c:v>44812</c:v>
                </c:pt>
                <c:pt idx="39" formatCode="d\-mmm">
                  <c:v>44813</c:v>
                </c:pt>
                <c:pt idx="40" formatCode="d\-mmm">
                  <c:v>44814</c:v>
                </c:pt>
                <c:pt idx="41" formatCode="d\-mmm">
                  <c:v>44815</c:v>
                </c:pt>
                <c:pt idx="42" formatCode="d\-mmm">
                  <c:v>44816</c:v>
                </c:pt>
                <c:pt idx="43" formatCode="d\-mmm">
                  <c:v>44817</c:v>
                </c:pt>
                <c:pt idx="44" formatCode="d\-mmm">
                  <c:v>44818</c:v>
                </c:pt>
                <c:pt idx="45">
                  <c:v>44819</c:v>
                </c:pt>
                <c:pt idx="46">
                  <c:v>44820</c:v>
                </c:pt>
                <c:pt idx="47">
                  <c:v>44821</c:v>
                </c:pt>
                <c:pt idx="48">
                  <c:v>44822</c:v>
                </c:pt>
                <c:pt idx="49">
                  <c:v>44823</c:v>
                </c:pt>
                <c:pt idx="50">
                  <c:v>44824</c:v>
                </c:pt>
                <c:pt idx="51">
                  <c:v>44825</c:v>
                </c:pt>
                <c:pt idx="52">
                  <c:v>44826</c:v>
                </c:pt>
                <c:pt idx="53">
                  <c:v>44827</c:v>
                </c:pt>
                <c:pt idx="54">
                  <c:v>44828</c:v>
                </c:pt>
                <c:pt idx="55">
                  <c:v>44829</c:v>
                </c:pt>
                <c:pt idx="56">
                  <c:v>44830</c:v>
                </c:pt>
              </c:numCache>
            </c:numRef>
          </c:cat>
          <c:val>
            <c:numRef>
              <c:f>Sheet1!$H$2:$H$60</c:f>
              <c:numCache>
                <c:formatCode>0</c:formatCode>
                <c:ptCount val="59"/>
                <c:pt idx="0">
                  <c:v>976.93931772500002</c:v>
                </c:pt>
                <c:pt idx="1">
                  <c:v>886.00325369999996</c:v>
                </c:pt>
                <c:pt idx="2">
                  <c:v>708.803857225</c:v>
                </c:pt>
                <c:pt idx="3">
                  <c:v>670.86796482499994</c:v>
                </c:pt>
                <c:pt idx="4">
                  <c:v>670.86796482499994</c:v>
                </c:pt>
                <c:pt idx="5">
                  <c:v>670.86796482499994</c:v>
                </c:pt>
                <c:pt idx="6">
                  <c:v>670.86796482499994</c:v>
                </c:pt>
                <c:pt idx="7">
                  <c:v>583.88681242500002</c:v>
                </c:pt>
                <c:pt idx="8">
                  <c:v>632.4088062666666</c:v>
                </c:pt>
                <c:pt idx="9">
                  <c:v>637</c:v>
                </c:pt>
                <c:pt idx="10">
                  <c:v>515</c:v>
                </c:pt>
                <c:pt idx="11">
                  <c:v>515</c:v>
                </c:pt>
                <c:pt idx="12">
                  <c:v>515</c:v>
                </c:pt>
                <c:pt idx="13">
                  <c:v>514.99879638225195</c:v>
                </c:pt>
                <c:pt idx="14">
                  <c:v>579.51988900777962</c:v>
                </c:pt>
                <c:pt idx="15">
                  <c:v>733.47967350999465</c:v>
                </c:pt>
                <c:pt idx="16">
                  <c:v>791.75862833833071</c:v>
                </c:pt>
                <c:pt idx="17">
                  <c:v>915.59139921353642</c:v>
                </c:pt>
                <c:pt idx="18">
                  <c:v>915.59139921353642</c:v>
                </c:pt>
                <c:pt idx="19">
                  <c:v>915.59139921353642</c:v>
                </c:pt>
                <c:pt idx="20">
                  <c:v>915.59139921353642</c:v>
                </c:pt>
                <c:pt idx="21">
                  <c:v>1007.9482961546652</c:v>
                </c:pt>
                <c:pt idx="22">
                  <c:v>950</c:v>
                </c:pt>
                <c:pt idx="23">
                  <c:v>956</c:v>
                </c:pt>
                <c:pt idx="24">
                  <c:v>927</c:v>
                </c:pt>
                <c:pt idx="25">
                  <c:v>927</c:v>
                </c:pt>
                <c:pt idx="26">
                  <c:v>927</c:v>
                </c:pt>
                <c:pt idx="27">
                  <c:v>927</c:v>
                </c:pt>
                <c:pt idx="28">
                  <c:v>949</c:v>
                </c:pt>
                <c:pt idx="29">
                  <c:v>1003</c:v>
                </c:pt>
                <c:pt idx="30">
                  <c:v>1212</c:v>
                </c:pt>
                <c:pt idx="31">
                  <c:v>1185</c:v>
                </c:pt>
                <c:pt idx="32">
                  <c:v>1395</c:v>
                </c:pt>
                <c:pt idx="33">
                  <c:v>1395</c:v>
                </c:pt>
                <c:pt idx="34">
                  <c:v>1395</c:v>
                </c:pt>
                <c:pt idx="35">
                  <c:v>1328.6653884588879</c:v>
                </c:pt>
                <c:pt idx="36">
                  <c:v>1268.3756582801582</c:v>
                </c:pt>
                <c:pt idx="37">
                  <c:v>1163.2232599892384</c:v>
                </c:pt>
                <c:pt idx="38">
                  <c:v>1232.9614102451353</c:v>
                </c:pt>
                <c:pt idx="39">
                  <c:v>1180.454558902587</c:v>
                </c:pt>
                <c:pt idx="40">
                  <c:v>1180.454558902587</c:v>
                </c:pt>
                <c:pt idx="41">
                  <c:v>1085.7793216655325</c:v>
                </c:pt>
                <c:pt idx="42">
                  <c:v>1151.1464990286916</c:v>
                </c:pt>
                <c:pt idx="43">
                  <c:v>1171.8816441119047</c:v>
                </c:pt>
                <c:pt idx="44">
                  <c:v>1111.3872136530701</c:v>
                </c:pt>
                <c:pt idx="45">
                  <c:v>1224.756664194095</c:v>
                </c:pt>
                <c:pt idx="46">
                  <c:v>1075.3826271447322</c:v>
                </c:pt>
                <c:pt idx="47">
                  <c:v>1075.3826271447322</c:v>
                </c:pt>
                <c:pt idx="48">
                  <c:v>1191.1275000608505</c:v>
                </c:pt>
                <c:pt idx="49">
                  <c:v>1161.1217793585108</c:v>
                </c:pt>
                <c:pt idx="50">
                  <c:v>1214.3966035011044</c:v>
                </c:pt>
                <c:pt idx="51">
                  <c:v>1238.241746008923</c:v>
                </c:pt>
                <c:pt idx="52">
                  <c:v>985.26119823472459</c:v>
                </c:pt>
                <c:pt idx="53">
                  <c:v>985.26119823472459</c:v>
                </c:pt>
                <c:pt idx="54">
                  <c:v>985.26119823472459</c:v>
                </c:pt>
                <c:pt idx="55">
                  <c:v>985.26119823472459</c:v>
                </c:pt>
                <c:pt idx="56">
                  <c:v>1383.839426603264</c:v>
                </c:pt>
              </c:numCache>
            </c:numRef>
          </c:val>
          <c:smooth val="0"/>
          <c:extLst>
            <c:ext xmlns:c16="http://schemas.microsoft.com/office/drawing/2014/chart" uri="{C3380CC4-5D6E-409C-BE32-E72D297353CC}">
              <c16:uniqueId val="{00000004-ED9D-408F-BF80-397C2F360348}"/>
            </c:ext>
          </c:extLst>
        </c:ser>
        <c:dLbls>
          <c:showLegendKey val="0"/>
          <c:showVal val="0"/>
          <c:showCatName val="0"/>
          <c:showSerName val="0"/>
          <c:showPercent val="0"/>
          <c:showBubbleSize val="0"/>
        </c:dLbls>
        <c:marker val="1"/>
        <c:smooth val="0"/>
        <c:axId val="699500544"/>
        <c:axId val="693093360"/>
        <c:extLst/>
      </c:lineChart>
      <c:dateAx>
        <c:axId val="494445784"/>
        <c:scaling>
          <c:orientation val="minMax"/>
          <c:min val="44793"/>
        </c:scaling>
        <c:delete val="0"/>
        <c:axPos val="b"/>
        <c:majorGridlines>
          <c:spPr>
            <a:ln w="9525" cap="flat" cmpd="sng" algn="ctr">
              <a:solidFill>
                <a:schemeClr val="tx1">
                  <a:lumMod val="15000"/>
                  <a:lumOff val="85000"/>
                </a:schemeClr>
              </a:solidFill>
              <a:round/>
            </a:ln>
            <a:effectLst/>
          </c:spPr>
        </c:majorGridlines>
        <c:numFmt formatCode="m/d;@" sourceLinked="0"/>
        <c:majorTickMark val="out"/>
        <c:minorTickMark val="none"/>
        <c:tickLblPos val="low"/>
        <c:spPr>
          <a:solidFill>
            <a:schemeClr val="bg1"/>
          </a:solid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494447424"/>
        <c:crosses val="autoZero"/>
        <c:auto val="1"/>
        <c:lblOffset val="100"/>
        <c:baseTimeUnit val="days"/>
        <c:majorUnit val="4"/>
        <c:majorTimeUnit val="days"/>
      </c:dateAx>
      <c:valAx>
        <c:axId val="494447424"/>
        <c:scaling>
          <c:orientation val="minMax"/>
          <c:max val="650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Calibri" panose="020F0502020204030204" pitchFamily="34" charset="0"/>
              </a:defRPr>
            </a:pPr>
            <a:endParaRPr lang="en-US"/>
          </a:p>
        </c:txPr>
        <c:crossAx val="494445784"/>
        <c:crossesAt val="44593"/>
        <c:crossBetween val="midCat"/>
        <c:majorUnit val="1000"/>
      </c:valAx>
      <c:valAx>
        <c:axId val="693093360"/>
        <c:scaling>
          <c:orientation val="minMax"/>
        </c:scaling>
        <c:delete val="1"/>
        <c:axPos val="r"/>
        <c:numFmt formatCode="0" sourceLinked="1"/>
        <c:majorTickMark val="out"/>
        <c:minorTickMark val="none"/>
        <c:tickLblPos val="nextTo"/>
        <c:crossAx val="699500544"/>
        <c:crosses val="max"/>
        <c:crossBetween val="between"/>
      </c:valAx>
      <c:dateAx>
        <c:axId val="699500544"/>
        <c:scaling>
          <c:orientation val="minMax"/>
        </c:scaling>
        <c:delete val="1"/>
        <c:axPos val="b"/>
        <c:numFmt formatCode="m/d/yyyy" sourceLinked="1"/>
        <c:majorTickMark val="out"/>
        <c:minorTickMark val="none"/>
        <c:tickLblPos val="nextTo"/>
        <c:crossAx val="693093360"/>
        <c:crosses val="autoZero"/>
        <c:auto val="1"/>
        <c:lblOffset val="100"/>
        <c:baseTimeUnit val="days"/>
      </c:date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6">
          <a:lumMod val="75000"/>
        </a:schemeClr>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57580060549135"/>
          <c:y val="6.6738920446538619E-2"/>
          <c:w val="0.81931293288947693"/>
          <c:h val="0.86652220107470168"/>
        </c:manualLayout>
      </c:layout>
      <c:lineChart>
        <c:grouping val="standard"/>
        <c:varyColors val="0"/>
        <c:ser>
          <c:idx val="0"/>
          <c:order val="0"/>
          <c:tx>
            <c:strRef>
              <c:f>Sheet1!$B$1</c:f>
              <c:strCache>
                <c:ptCount val="1"/>
                <c:pt idx="0">
                  <c:v>Billerica</c:v>
                </c:pt>
              </c:strCache>
            </c:strRef>
          </c:tx>
          <c:spPr>
            <a:ln w="19050" cap="rnd">
              <a:solidFill>
                <a:schemeClr val="accent1"/>
              </a:solidFill>
              <a:round/>
            </a:ln>
            <a:effectLst/>
          </c:spPr>
          <c:marker>
            <c:symbol val="none"/>
          </c:marker>
          <c:cat>
            <c:numRef>
              <c:f>Sheet1!$A$4:$A$58</c:f>
              <c:numCache>
                <c:formatCode>m/d/yyyy</c:formatCode>
                <c:ptCount val="55"/>
                <c:pt idx="0">
                  <c:v>44776</c:v>
                </c:pt>
                <c:pt idx="1">
                  <c:v>44777</c:v>
                </c:pt>
                <c:pt idx="2">
                  <c:v>44778</c:v>
                </c:pt>
                <c:pt idx="3">
                  <c:v>44779</c:v>
                </c:pt>
                <c:pt idx="4">
                  <c:v>44780</c:v>
                </c:pt>
                <c:pt idx="5">
                  <c:v>44781</c:v>
                </c:pt>
                <c:pt idx="6">
                  <c:v>44782</c:v>
                </c:pt>
                <c:pt idx="7">
                  <c:v>44783</c:v>
                </c:pt>
                <c:pt idx="8">
                  <c:v>44784</c:v>
                </c:pt>
                <c:pt idx="9">
                  <c:v>44785</c:v>
                </c:pt>
                <c:pt idx="10">
                  <c:v>44786</c:v>
                </c:pt>
                <c:pt idx="11">
                  <c:v>44787</c:v>
                </c:pt>
                <c:pt idx="12">
                  <c:v>44788</c:v>
                </c:pt>
                <c:pt idx="13">
                  <c:v>44789</c:v>
                </c:pt>
                <c:pt idx="14">
                  <c:v>44790</c:v>
                </c:pt>
                <c:pt idx="15">
                  <c:v>44791</c:v>
                </c:pt>
                <c:pt idx="16">
                  <c:v>44792</c:v>
                </c:pt>
                <c:pt idx="17">
                  <c:v>44793</c:v>
                </c:pt>
                <c:pt idx="18">
                  <c:v>44794</c:v>
                </c:pt>
                <c:pt idx="19">
                  <c:v>44795</c:v>
                </c:pt>
                <c:pt idx="20">
                  <c:v>44796</c:v>
                </c:pt>
                <c:pt idx="21">
                  <c:v>44797</c:v>
                </c:pt>
                <c:pt idx="22">
                  <c:v>44798</c:v>
                </c:pt>
                <c:pt idx="23">
                  <c:v>44799</c:v>
                </c:pt>
                <c:pt idx="24">
                  <c:v>44800</c:v>
                </c:pt>
                <c:pt idx="25">
                  <c:v>44801</c:v>
                </c:pt>
                <c:pt idx="26">
                  <c:v>44802</c:v>
                </c:pt>
                <c:pt idx="27">
                  <c:v>44803</c:v>
                </c:pt>
                <c:pt idx="28">
                  <c:v>44804</c:v>
                </c:pt>
                <c:pt idx="29">
                  <c:v>44805</c:v>
                </c:pt>
                <c:pt idx="30">
                  <c:v>44806</c:v>
                </c:pt>
                <c:pt idx="31">
                  <c:v>44807</c:v>
                </c:pt>
                <c:pt idx="32">
                  <c:v>44808</c:v>
                </c:pt>
                <c:pt idx="33">
                  <c:v>44809</c:v>
                </c:pt>
                <c:pt idx="34">
                  <c:v>44810</c:v>
                </c:pt>
                <c:pt idx="35">
                  <c:v>44811</c:v>
                </c:pt>
                <c:pt idx="36">
                  <c:v>44812</c:v>
                </c:pt>
                <c:pt idx="37">
                  <c:v>44813</c:v>
                </c:pt>
                <c:pt idx="38">
                  <c:v>44814</c:v>
                </c:pt>
                <c:pt idx="39">
                  <c:v>44815</c:v>
                </c:pt>
                <c:pt idx="40">
                  <c:v>44816</c:v>
                </c:pt>
                <c:pt idx="41">
                  <c:v>44817</c:v>
                </c:pt>
                <c:pt idx="42">
                  <c:v>44818</c:v>
                </c:pt>
                <c:pt idx="43">
                  <c:v>44819</c:v>
                </c:pt>
                <c:pt idx="44">
                  <c:v>44820</c:v>
                </c:pt>
                <c:pt idx="45">
                  <c:v>44821</c:v>
                </c:pt>
                <c:pt idx="46">
                  <c:v>44822</c:v>
                </c:pt>
                <c:pt idx="47">
                  <c:v>44823</c:v>
                </c:pt>
                <c:pt idx="48">
                  <c:v>44824</c:v>
                </c:pt>
                <c:pt idx="49">
                  <c:v>44825</c:v>
                </c:pt>
                <c:pt idx="50">
                  <c:v>44826</c:v>
                </c:pt>
                <c:pt idx="51">
                  <c:v>44827</c:v>
                </c:pt>
                <c:pt idx="52">
                  <c:v>44828</c:v>
                </c:pt>
                <c:pt idx="53">
                  <c:v>44829</c:v>
                </c:pt>
                <c:pt idx="54">
                  <c:v>44830</c:v>
                </c:pt>
              </c:numCache>
            </c:numRef>
          </c:cat>
          <c:val>
            <c:numRef>
              <c:f>Sheet1!$B$4:$B$58</c:f>
              <c:numCache>
                <c:formatCode>0</c:formatCode>
                <c:ptCount val="55"/>
                <c:pt idx="0">
                  <c:v>1642.999004</c:v>
                </c:pt>
                <c:pt idx="1">
                  <c:v>1642.999004</c:v>
                </c:pt>
                <c:pt idx="2">
                  <c:v>1642.999004</c:v>
                </c:pt>
                <c:pt idx="3">
                  <c:v>1642.999004</c:v>
                </c:pt>
                <c:pt idx="4">
                  <c:v>1642.999004</c:v>
                </c:pt>
                <c:pt idx="5">
                  <c:v>1452.933125</c:v>
                </c:pt>
                <c:pt idx="6">
                  <c:v>1452.933125</c:v>
                </c:pt>
                <c:pt idx="7">
                  <c:v>833.20338256705793</c:v>
                </c:pt>
                <c:pt idx="8">
                  <c:v>833.20338256705793</c:v>
                </c:pt>
                <c:pt idx="9">
                  <c:v>893.97295603878445</c:v>
                </c:pt>
                <c:pt idx="10">
                  <c:v>893.97295603878445</c:v>
                </c:pt>
                <c:pt idx="11">
                  <c:v>893.97295603878445</c:v>
                </c:pt>
                <c:pt idx="12">
                  <c:v>922.33422528712561</c:v>
                </c:pt>
                <c:pt idx="13">
                  <c:v>922.33422528712561</c:v>
                </c:pt>
                <c:pt idx="14">
                  <c:v>1253.9537846833364</c:v>
                </c:pt>
                <c:pt idx="15">
                  <c:v>1253.9537846833364</c:v>
                </c:pt>
                <c:pt idx="16">
                  <c:v>1403.5594122697489</c:v>
                </c:pt>
                <c:pt idx="17">
                  <c:v>1403.5594122697489</c:v>
                </c:pt>
                <c:pt idx="18">
                  <c:v>1403.5594122697489</c:v>
                </c:pt>
                <c:pt idx="19">
                  <c:v>1622</c:v>
                </c:pt>
                <c:pt idx="20">
                  <c:v>1622</c:v>
                </c:pt>
                <c:pt idx="21">
                  <c:v>1381</c:v>
                </c:pt>
                <c:pt idx="22">
                  <c:v>1381</c:v>
                </c:pt>
                <c:pt idx="23">
                  <c:v>1176</c:v>
                </c:pt>
                <c:pt idx="24">
                  <c:v>1176</c:v>
                </c:pt>
                <c:pt idx="25">
                  <c:v>1176</c:v>
                </c:pt>
                <c:pt idx="26">
                  <c:v>976</c:v>
                </c:pt>
                <c:pt idx="27">
                  <c:v>976</c:v>
                </c:pt>
                <c:pt idx="28">
                  <c:v>792</c:v>
                </c:pt>
                <c:pt idx="29">
                  <c:v>793</c:v>
                </c:pt>
                <c:pt idx="30">
                  <c:v>1036</c:v>
                </c:pt>
                <c:pt idx="31">
                  <c:v>954</c:v>
                </c:pt>
                <c:pt idx="32">
                  <c:v>954</c:v>
                </c:pt>
                <c:pt idx="33">
                  <c:v>893</c:v>
                </c:pt>
                <c:pt idx="34">
                  <c:v>893</c:v>
                </c:pt>
                <c:pt idx="35">
                  <c:v>818</c:v>
                </c:pt>
                <c:pt idx="36">
                  <c:v>749</c:v>
                </c:pt>
                <c:pt idx="37">
                  <c:v>712</c:v>
                </c:pt>
                <c:pt idx="38">
                  <c:v>713</c:v>
                </c:pt>
                <c:pt idx="39">
                  <c:v>923</c:v>
                </c:pt>
                <c:pt idx="40">
                  <c:v>907</c:v>
                </c:pt>
                <c:pt idx="41">
                  <c:v>907</c:v>
                </c:pt>
                <c:pt idx="42">
                  <c:v>1004</c:v>
                </c:pt>
              </c:numCache>
            </c:numRef>
          </c:val>
          <c:smooth val="1"/>
          <c:extLst>
            <c:ext xmlns:c16="http://schemas.microsoft.com/office/drawing/2014/chart" uri="{C3380CC4-5D6E-409C-BE32-E72D297353CC}">
              <c16:uniqueId val="{00000000-D184-4EB7-83A9-0FA1FBEC78ED}"/>
            </c:ext>
          </c:extLst>
        </c:ser>
        <c:ser>
          <c:idx val="1"/>
          <c:order val="1"/>
          <c:tx>
            <c:strRef>
              <c:f>Sheet1!$C$1</c:f>
              <c:strCache>
                <c:ptCount val="1"/>
                <c:pt idx="0">
                  <c:v>Greater Lawrence</c:v>
                </c:pt>
              </c:strCache>
            </c:strRef>
          </c:tx>
          <c:spPr>
            <a:ln w="19050" cap="rnd">
              <a:solidFill>
                <a:schemeClr val="bg2">
                  <a:lumMod val="75000"/>
                </a:schemeClr>
              </a:solidFill>
              <a:round/>
            </a:ln>
            <a:effectLst/>
          </c:spPr>
          <c:marker>
            <c:symbol val="none"/>
          </c:marker>
          <c:cat>
            <c:numRef>
              <c:f>Sheet1!$A$4:$A$58</c:f>
              <c:numCache>
                <c:formatCode>m/d/yyyy</c:formatCode>
                <c:ptCount val="55"/>
                <c:pt idx="0">
                  <c:v>44776</c:v>
                </c:pt>
                <c:pt idx="1">
                  <c:v>44777</c:v>
                </c:pt>
                <c:pt idx="2">
                  <c:v>44778</c:v>
                </c:pt>
                <c:pt idx="3">
                  <c:v>44779</c:v>
                </c:pt>
                <c:pt idx="4">
                  <c:v>44780</c:v>
                </c:pt>
                <c:pt idx="5">
                  <c:v>44781</c:v>
                </c:pt>
                <c:pt idx="6">
                  <c:v>44782</c:v>
                </c:pt>
                <c:pt idx="7">
                  <c:v>44783</c:v>
                </c:pt>
                <c:pt idx="8">
                  <c:v>44784</c:v>
                </c:pt>
                <c:pt idx="9">
                  <c:v>44785</c:v>
                </c:pt>
                <c:pt idx="10">
                  <c:v>44786</c:v>
                </c:pt>
                <c:pt idx="11">
                  <c:v>44787</c:v>
                </c:pt>
                <c:pt idx="12">
                  <c:v>44788</c:v>
                </c:pt>
                <c:pt idx="13">
                  <c:v>44789</c:v>
                </c:pt>
                <c:pt idx="14">
                  <c:v>44790</c:v>
                </c:pt>
                <c:pt idx="15">
                  <c:v>44791</c:v>
                </c:pt>
                <c:pt idx="16">
                  <c:v>44792</c:v>
                </c:pt>
                <c:pt idx="17">
                  <c:v>44793</c:v>
                </c:pt>
                <c:pt idx="18">
                  <c:v>44794</c:v>
                </c:pt>
                <c:pt idx="19">
                  <c:v>44795</c:v>
                </c:pt>
                <c:pt idx="20">
                  <c:v>44796</c:v>
                </c:pt>
                <c:pt idx="21">
                  <c:v>44797</c:v>
                </c:pt>
                <c:pt idx="22">
                  <c:v>44798</c:v>
                </c:pt>
                <c:pt idx="23">
                  <c:v>44799</c:v>
                </c:pt>
                <c:pt idx="24">
                  <c:v>44800</c:v>
                </c:pt>
                <c:pt idx="25">
                  <c:v>44801</c:v>
                </c:pt>
                <c:pt idx="26">
                  <c:v>44802</c:v>
                </c:pt>
                <c:pt idx="27">
                  <c:v>44803</c:v>
                </c:pt>
                <c:pt idx="28">
                  <c:v>44804</c:v>
                </c:pt>
                <c:pt idx="29">
                  <c:v>44805</c:v>
                </c:pt>
                <c:pt idx="30">
                  <c:v>44806</c:v>
                </c:pt>
                <c:pt idx="31">
                  <c:v>44807</c:v>
                </c:pt>
                <c:pt idx="32">
                  <c:v>44808</c:v>
                </c:pt>
                <c:pt idx="33">
                  <c:v>44809</c:v>
                </c:pt>
                <c:pt idx="34">
                  <c:v>44810</c:v>
                </c:pt>
                <c:pt idx="35">
                  <c:v>44811</c:v>
                </c:pt>
                <c:pt idx="36">
                  <c:v>44812</c:v>
                </c:pt>
                <c:pt idx="37">
                  <c:v>44813</c:v>
                </c:pt>
                <c:pt idx="38">
                  <c:v>44814</c:v>
                </c:pt>
                <c:pt idx="39">
                  <c:v>44815</c:v>
                </c:pt>
                <c:pt idx="40">
                  <c:v>44816</c:v>
                </c:pt>
                <c:pt idx="41">
                  <c:v>44817</c:v>
                </c:pt>
                <c:pt idx="42">
                  <c:v>44818</c:v>
                </c:pt>
                <c:pt idx="43">
                  <c:v>44819</c:v>
                </c:pt>
                <c:pt idx="44">
                  <c:v>44820</c:v>
                </c:pt>
                <c:pt idx="45">
                  <c:v>44821</c:v>
                </c:pt>
                <c:pt idx="46">
                  <c:v>44822</c:v>
                </c:pt>
                <c:pt idx="47">
                  <c:v>44823</c:v>
                </c:pt>
                <c:pt idx="48">
                  <c:v>44824</c:v>
                </c:pt>
                <c:pt idx="49">
                  <c:v>44825</c:v>
                </c:pt>
                <c:pt idx="50">
                  <c:v>44826</c:v>
                </c:pt>
                <c:pt idx="51">
                  <c:v>44827</c:v>
                </c:pt>
                <c:pt idx="52">
                  <c:v>44828</c:v>
                </c:pt>
                <c:pt idx="53">
                  <c:v>44829</c:v>
                </c:pt>
                <c:pt idx="54">
                  <c:v>44830</c:v>
                </c:pt>
              </c:numCache>
            </c:numRef>
          </c:cat>
          <c:val>
            <c:numRef>
              <c:f>Sheet1!$C$4:$C$58</c:f>
              <c:numCache>
                <c:formatCode>0</c:formatCode>
                <c:ptCount val="55"/>
                <c:pt idx="0">
                  <c:v>1407.9864210000003</c:v>
                </c:pt>
                <c:pt idx="1">
                  <c:v>1407.9864210000003</c:v>
                </c:pt>
                <c:pt idx="2">
                  <c:v>1407.9864210000003</c:v>
                </c:pt>
                <c:pt idx="3">
                  <c:v>1407.9864210000003</c:v>
                </c:pt>
                <c:pt idx="4">
                  <c:v>1436.04278075</c:v>
                </c:pt>
                <c:pt idx="5">
                  <c:v>1353.4238499999999</c:v>
                </c:pt>
                <c:pt idx="6">
                  <c:v>1429.0245335</c:v>
                </c:pt>
                <c:pt idx="7">
                  <c:v>1323.6830572963747</c:v>
                </c:pt>
                <c:pt idx="8">
                  <c:v>1323.6830572963747</c:v>
                </c:pt>
                <c:pt idx="9">
                  <c:v>1323.6830572963747</c:v>
                </c:pt>
                <c:pt idx="10">
                  <c:v>1323.6830572963747</c:v>
                </c:pt>
                <c:pt idx="11">
                  <c:v>1440.9528891754715</c:v>
                </c:pt>
                <c:pt idx="12">
                  <c:v>1440.9528891754715</c:v>
                </c:pt>
                <c:pt idx="13">
                  <c:v>1464.8440708999533</c:v>
                </c:pt>
                <c:pt idx="14">
                  <c:v>1456.8177301463302</c:v>
                </c:pt>
                <c:pt idx="15">
                  <c:v>1456.8177301463302</c:v>
                </c:pt>
                <c:pt idx="16">
                  <c:v>1456.8177301463302</c:v>
                </c:pt>
                <c:pt idx="17">
                  <c:v>1456.8177301463302</c:v>
                </c:pt>
                <c:pt idx="18">
                  <c:v>1225.6597827131734</c:v>
                </c:pt>
                <c:pt idx="19">
                  <c:v>1108</c:v>
                </c:pt>
                <c:pt idx="20">
                  <c:v>1040</c:v>
                </c:pt>
                <c:pt idx="21">
                  <c:v>921</c:v>
                </c:pt>
                <c:pt idx="22">
                  <c:v>921</c:v>
                </c:pt>
                <c:pt idx="23">
                  <c:v>921</c:v>
                </c:pt>
                <c:pt idx="24">
                  <c:v>921</c:v>
                </c:pt>
                <c:pt idx="25">
                  <c:v>910</c:v>
                </c:pt>
                <c:pt idx="26">
                  <c:v>1084</c:v>
                </c:pt>
                <c:pt idx="27">
                  <c:v>1308</c:v>
                </c:pt>
                <c:pt idx="28">
                  <c:v>1343</c:v>
                </c:pt>
                <c:pt idx="29">
                  <c:v>1153</c:v>
                </c:pt>
                <c:pt idx="30">
                  <c:v>1186</c:v>
                </c:pt>
                <c:pt idx="31">
                  <c:v>1186</c:v>
                </c:pt>
                <c:pt idx="32">
                  <c:v>1206</c:v>
                </c:pt>
                <c:pt idx="33">
                  <c:v>1186</c:v>
                </c:pt>
                <c:pt idx="34">
                  <c:v>1191.7309279817475</c:v>
                </c:pt>
                <c:pt idx="35">
                  <c:v>1334.2080440358347</c:v>
                </c:pt>
                <c:pt idx="36">
                  <c:v>1459.1379915357654</c:v>
                </c:pt>
                <c:pt idx="37">
                  <c:v>1536.8183276493903</c:v>
                </c:pt>
                <c:pt idx="38">
                  <c:v>1536.8183276493903</c:v>
                </c:pt>
                <c:pt idx="39">
                  <c:v>1627.2361632525135</c:v>
                </c:pt>
                <c:pt idx="40">
                  <c:v>1346.2573763721982</c:v>
                </c:pt>
                <c:pt idx="41">
                  <c:v>1423.8574981207346</c:v>
                </c:pt>
                <c:pt idx="42">
                  <c:v>1336.0886785099779</c:v>
                </c:pt>
                <c:pt idx="43">
                  <c:v>1375.1297967646433</c:v>
                </c:pt>
                <c:pt idx="44">
                  <c:v>1264.6073024249765</c:v>
                </c:pt>
                <c:pt idx="45">
                  <c:v>1264.6073024249765</c:v>
                </c:pt>
                <c:pt idx="46">
                  <c:v>1071.5998254118715</c:v>
                </c:pt>
                <c:pt idx="47">
                  <c:v>1248.545779991895</c:v>
                </c:pt>
                <c:pt idx="48">
                  <c:v>1199.8289423639167</c:v>
                </c:pt>
                <c:pt idx="49">
                  <c:v>1174.6182978266202</c:v>
                </c:pt>
                <c:pt idx="50">
                  <c:v>1174.6182978266202</c:v>
                </c:pt>
                <c:pt idx="51">
                  <c:v>1174.6182978266202</c:v>
                </c:pt>
                <c:pt idx="52">
                  <c:v>1174.6182978266202</c:v>
                </c:pt>
                <c:pt idx="53">
                  <c:v>2020.9976196601601</c:v>
                </c:pt>
                <c:pt idx="54">
                  <c:v>2928.3926948824901</c:v>
                </c:pt>
              </c:numCache>
            </c:numRef>
          </c:val>
          <c:smooth val="1"/>
          <c:extLst>
            <c:ext xmlns:c16="http://schemas.microsoft.com/office/drawing/2014/chart" uri="{C3380CC4-5D6E-409C-BE32-E72D297353CC}">
              <c16:uniqueId val="{00000001-D184-4EB7-83A9-0FA1FBEC78ED}"/>
            </c:ext>
          </c:extLst>
        </c:ser>
        <c:ser>
          <c:idx val="2"/>
          <c:order val="2"/>
          <c:tx>
            <c:strRef>
              <c:f>Sheet1!$D$1</c:f>
              <c:strCache>
                <c:ptCount val="1"/>
                <c:pt idx="0">
                  <c:v>Haverhill</c:v>
                </c:pt>
              </c:strCache>
            </c:strRef>
          </c:tx>
          <c:spPr>
            <a:ln w="19050" cap="rnd">
              <a:solidFill>
                <a:srgbClr val="00B050"/>
              </a:solidFill>
              <a:round/>
            </a:ln>
            <a:effectLst/>
          </c:spPr>
          <c:marker>
            <c:symbol val="none"/>
          </c:marker>
          <c:cat>
            <c:numRef>
              <c:f>Sheet1!$A$4:$A$58</c:f>
              <c:numCache>
                <c:formatCode>m/d/yyyy</c:formatCode>
                <c:ptCount val="55"/>
                <c:pt idx="0">
                  <c:v>44776</c:v>
                </c:pt>
                <c:pt idx="1">
                  <c:v>44777</c:v>
                </c:pt>
                <c:pt idx="2">
                  <c:v>44778</c:v>
                </c:pt>
                <c:pt idx="3">
                  <c:v>44779</c:v>
                </c:pt>
                <c:pt idx="4">
                  <c:v>44780</c:v>
                </c:pt>
                <c:pt idx="5">
                  <c:v>44781</c:v>
                </c:pt>
                <c:pt idx="6">
                  <c:v>44782</c:v>
                </c:pt>
                <c:pt idx="7">
                  <c:v>44783</c:v>
                </c:pt>
                <c:pt idx="8">
                  <c:v>44784</c:v>
                </c:pt>
                <c:pt idx="9">
                  <c:v>44785</c:v>
                </c:pt>
                <c:pt idx="10">
                  <c:v>44786</c:v>
                </c:pt>
                <c:pt idx="11">
                  <c:v>44787</c:v>
                </c:pt>
                <c:pt idx="12">
                  <c:v>44788</c:v>
                </c:pt>
                <c:pt idx="13">
                  <c:v>44789</c:v>
                </c:pt>
                <c:pt idx="14">
                  <c:v>44790</c:v>
                </c:pt>
                <c:pt idx="15">
                  <c:v>44791</c:v>
                </c:pt>
                <c:pt idx="16">
                  <c:v>44792</c:v>
                </c:pt>
                <c:pt idx="17">
                  <c:v>44793</c:v>
                </c:pt>
                <c:pt idx="18">
                  <c:v>44794</c:v>
                </c:pt>
                <c:pt idx="19">
                  <c:v>44795</c:v>
                </c:pt>
                <c:pt idx="20">
                  <c:v>44796</c:v>
                </c:pt>
                <c:pt idx="21">
                  <c:v>44797</c:v>
                </c:pt>
                <c:pt idx="22">
                  <c:v>44798</c:v>
                </c:pt>
                <c:pt idx="23">
                  <c:v>44799</c:v>
                </c:pt>
                <c:pt idx="24">
                  <c:v>44800</c:v>
                </c:pt>
                <c:pt idx="25">
                  <c:v>44801</c:v>
                </c:pt>
                <c:pt idx="26">
                  <c:v>44802</c:v>
                </c:pt>
                <c:pt idx="27">
                  <c:v>44803</c:v>
                </c:pt>
                <c:pt idx="28">
                  <c:v>44804</c:v>
                </c:pt>
                <c:pt idx="29">
                  <c:v>44805</c:v>
                </c:pt>
                <c:pt idx="30">
                  <c:v>44806</c:v>
                </c:pt>
                <c:pt idx="31">
                  <c:v>44807</c:v>
                </c:pt>
                <c:pt idx="32">
                  <c:v>44808</c:v>
                </c:pt>
                <c:pt idx="33">
                  <c:v>44809</c:v>
                </c:pt>
                <c:pt idx="34">
                  <c:v>44810</c:v>
                </c:pt>
                <c:pt idx="35">
                  <c:v>44811</c:v>
                </c:pt>
                <c:pt idx="36">
                  <c:v>44812</c:v>
                </c:pt>
                <c:pt idx="37">
                  <c:v>44813</c:v>
                </c:pt>
                <c:pt idx="38">
                  <c:v>44814</c:v>
                </c:pt>
                <c:pt idx="39">
                  <c:v>44815</c:v>
                </c:pt>
                <c:pt idx="40">
                  <c:v>44816</c:v>
                </c:pt>
                <c:pt idx="41">
                  <c:v>44817</c:v>
                </c:pt>
                <c:pt idx="42">
                  <c:v>44818</c:v>
                </c:pt>
                <c:pt idx="43">
                  <c:v>44819</c:v>
                </c:pt>
                <c:pt idx="44">
                  <c:v>44820</c:v>
                </c:pt>
                <c:pt idx="45">
                  <c:v>44821</c:v>
                </c:pt>
                <c:pt idx="46">
                  <c:v>44822</c:v>
                </c:pt>
                <c:pt idx="47">
                  <c:v>44823</c:v>
                </c:pt>
                <c:pt idx="48">
                  <c:v>44824</c:v>
                </c:pt>
                <c:pt idx="49">
                  <c:v>44825</c:v>
                </c:pt>
                <c:pt idx="50">
                  <c:v>44826</c:v>
                </c:pt>
                <c:pt idx="51">
                  <c:v>44827</c:v>
                </c:pt>
                <c:pt idx="52">
                  <c:v>44828</c:v>
                </c:pt>
                <c:pt idx="53">
                  <c:v>44829</c:v>
                </c:pt>
                <c:pt idx="54">
                  <c:v>44830</c:v>
                </c:pt>
              </c:numCache>
            </c:numRef>
          </c:cat>
          <c:val>
            <c:numRef>
              <c:f>Sheet1!$D$4:$D$58</c:f>
              <c:numCache>
                <c:formatCode>0</c:formatCode>
                <c:ptCount val="55"/>
                <c:pt idx="0">
                  <c:v>1012.9137095000001</c:v>
                </c:pt>
                <c:pt idx="1">
                  <c:v>1012.9137095000001</c:v>
                </c:pt>
                <c:pt idx="2">
                  <c:v>1012.9137095000001</c:v>
                </c:pt>
                <c:pt idx="3">
                  <c:v>1012.9137095000001</c:v>
                </c:pt>
                <c:pt idx="4">
                  <c:v>963.75037825000004</c:v>
                </c:pt>
                <c:pt idx="5">
                  <c:v>843.69857300000001</c:v>
                </c:pt>
                <c:pt idx="6">
                  <c:v>931.76109439999993</c:v>
                </c:pt>
                <c:pt idx="7">
                  <c:v>1035.33932742359</c:v>
                </c:pt>
                <c:pt idx="8">
                  <c:v>1035.33932742359</c:v>
                </c:pt>
                <c:pt idx="9">
                  <c:v>1035.33932742359</c:v>
                </c:pt>
                <c:pt idx="10">
                  <c:v>1035.33932742359</c:v>
                </c:pt>
                <c:pt idx="11">
                  <c:v>999.18667664669488</c:v>
                </c:pt>
                <c:pt idx="12">
                  <c:v>999.18667664669488</c:v>
                </c:pt>
                <c:pt idx="13">
                  <c:v>999.18667664669488</c:v>
                </c:pt>
                <c:pt idx="14">
                  <c:v>822.55991844753794</c:v>
                </c:pt>
                <c:pt idx="15">
                  <c:v>822.55991844753794</c:v>
                </c:pt>
                <c:pt idx="16">
                  <c:v>822.55991844753794</c:v>
                </c:pt>
                <c:pt idx="17">
                  <c:v>822.55991844753794</c:v>
                </c:pt>
                <c:pt idx="18">
                  <c:v>1658.545168217503</c:v>
                </c:pt>
                <c:pt idx="19">
                  <c:v>1659</c:v>
                </c:pt>
                <c:pt idx="20" formatCode="General">
                  <c:v>1544</c:v>
                </c:pt>
                <c:pt idx="21" formatCode="General">
                  <c:v>1604</c:v>
                </c:pt>
                <c:pt idx="22" formatCode="General">
                  <c:v>1445</c:v>
                </c:pt>
                <c:pt idx="23" formatCode="General">
                  <c:v>1445</c:v>
                </c:pt>
                <c:pt idx="24" formatCode="General">
                  <c:v>1445</c:v>
                </c:pt>
                <c:pt idx="25" formatCode="General">
                  <c:v>992</c:v>
                </c:pt>
                <c:pt idx="26" formatCode="General">
                  <c:v>992</c:v>
                </c:pt>
                <c:pt idx="27" formatCode="General">
                  <c:v>830</c:v>
                </c:pt>
                <c:pt idx="28" formatCode="General">
                  <c:v>968</c:v>
                </c:pt>
                <c:pt idx="29" formatCode="General">
                  <c:v>733</c:v>
                </c:pt>
                <c:pt idx="30" formatCode="General">
                  <c:v>781</c:v>
                </c:pt>
                <c:pt idx="31" formatCode="General">
                  <c:v>743</c:v>
                </c:pt>
                <c:pt idx="32" formatCode="General">
                  <c:v>743</c:v>
                </c:pt>
                <c:pt idx="33" formatCode="General">
                  <c:v>758</c:v>
                </c:pt>
                <c:pt idx="34">
                  <c:v>723.45697712661752</c:v>
                </c:pt>
                <c:pt idx="35">
                  <c:v>808.22081116071456</c:v>
                </c:pt>
                <c:pt idx="36">
                  <c:v>880.49431253658429</c:v>
                </c:pt>
                <c:pt idx="37">
                  <c:v>859.22758056262558</c:v>
                </c:pt>
                <c:pt idx="38">
                  <c:v>897.64475072498715</c:v>
                </c:pt>
                <c:pt idx="39">
                  <c:v>927.55620924481593</c:v>
                </c:pt>
                <c:pt idx="40">
                  <c:v>993.07229949403916</c:v>
                </c:pt>
                <c:pt idx="41">
                  <c:v>1366.7847080451336</c:v>
                </c:pt>
                <c:pt idx="42">
                  <c:v>1303.4680883411449</c:v>
                </c:pt>
                <c:pt idx="43">
                  <c:v>1330.9044814466101</c:v>
                </c:pt>
                <c:pt idx="44">
                  <c:v>1488.2752670628024</c:v>
                </c:pt>
                <c:pt idx="45">
                  <c:v>1488.2752670628024</c:v>
                </c:pt>
                <c:pt idx="46">
                  <c:v>1493.7905891349749</c:v>
                </c:pt>
                <c:pt idx="47">
                  <c:v>1559.816192339495</c:v>
                </c:pt>
                <c:pt idx="48">
                  <c:v>1136.7641912310401</c:v>
                </c:pt>
                <c:pt idx="49">
                  <c:v>1279.0761552929248</c:v>
                </c:pt>
                <c:pt idx="50">
                  <c:v>1279.0761552929248</c:v>
                </c:pt>
                <c:pt idx="51">
                  <c:v>1279.0761552929248</c:v>
                </c:pt>
                <c:pt idx="52">
                  <c:v>1279.0761552929248</c:v>
                </c:pt>
                <c:pt idx="53">
                  <c:v>1726.456697533805</c:v>
                </c:pt>
                <c:pt idx="54">
                  <c:v>1993.9358746144101</c:v>
                </c:pt>
              </c:numCache>
            </c:numRef>
          </c:val>
          <c:smooth val="1"/>
          <c:extLst>
            <c:ext xmlns:c16="http://schemas.microsoft.com/office/drawing/2014/chart" uri="{C3380CC4-5D6E-409C-BE32-E72D297353CC}">
              <c16:uniqueId val="{00000002-D184-4EB7-83A9-0FA1FBEC78ED}"/>
            </c:ext>
          </c:extLst>
        </c:ser>
        <c:ser>
          <c:idx val="3"/>
          <c:order val="3"/>
          <c:tx>
            <c:strRef>
              <c:f>Sheet1!$E$1</c:f>
              <c:strCache>
                <c:ptCount val="1"/>
                <c:pt idx="0">
                  <c:v>MWRA North</c:v>
                </c:pt>
              </c:strCache>
            </c:strRef>
          </c:tx>
          <c:spPr>
            <a:ln w="19050" cap="rnd">
              <a:solidFill>
                <a:srgbClr val="F339DD"/>
              </a:solidFill>
              <a:round/>
            </a:ln>
            <a:effectLst/>
          </c:spPr>
          <c:marker>
            <c:symbol val="none"/>
          </c:marker>
          <c:cat>
            <c:numRef>
              <c:f>Sheet1!$A$4:$A$58</c:f>
              <c:numCache>
                <c:formatCode>m/d/yyyy</c:formatCode>
                <c:ptCount val="55"/>
                <c:pt idx="0">
                  <c:v>44776</c:v>
                </c:pt>
                <c:pt idx="1">
                  <c:v>44777</c:v>
                </c:pt>
                <c:pt idx="2">
                  <c:v>44778</c:v>
                </c:pt>
                <c:pt idx="3">
                  <c:v>44779</c:v>
                </c:pt>
                <c:pt idx="4">
                  <c:v>44780</c:v>
                </c:pt>
                <c:pt idx="5">
                  <c:v>44781</c:v>
                </c:pt>
                <c:pt idx="6">
                  <c:v>44782</c:v>
                </c:pt>
                <c:pt idx="7">
                  <c:v>44783</c:v>
                </c:pt>
                <c:pt idx="8">
                  <c:v>44784</c:v>
                </c:pt>
                <c:pt idx="9">
                  <c:v>44785</c:v>
                </c:pt>
                <c:pt idx="10">
                  <c:v>44786</c:v>
                </c:pt>
                <c:pt idx="11">
                  <c:v>44787</c:v>
                </c:pt>
                <c:pt idx="12">
                  <c:v>44788</c:v>
                </c:pt>
                <c:pt idx="13">
                  <c:v>44789</c:v>
                </c:pt>
                <c:pt idx="14">
                  <c:v>44790</c:v>
                </c:pt>
                <c:pt idx="15">
                  <c:v>44791</c:v>
                </c:pt>
                <c:pt idx="16">
                  <c:v>44792</c:v>
                </c:pt>
                <c:pt idx="17">
                  <c:v>44793</c:v>
                </c:pt>
                <c:pt idx="18">
                  <c:v>44794</c:v>
                </c:pt>
                <c:pt idx="19">
                  <c:v>44795</c:v>
                </c:pt>
                <c:pt idx="20">
                  <c:v>44796</c:v>
                </c:pt>
                <c:pt idx="21">
                  <c:v>44797</c:v>
                </c:pt>
                <c:pt idx="22">
                  <c:v>44798</c:v>
                </c:pt>
                <c:pt idx="23">
                  <c:v>44799</c:v>
                </c:pt>
                <c:pt idx="24">
                  <c:v>44800</c:v>
                </c:pt>
                <c:pt idx="25">
                  <c:v>44801</c:v>
                </c:pt>
                <c:pt idx="26">
                  <c:v>44802</c:v>
                </c:pt>
                <c:pt idx="27">
                  <c:v>44803</c:v>
                </c:pt>
                <c:pt idx="28">
                  <c:v>44804</c:v>
                </c:pt>
                <c:pt idx="29">
                  <c:v>44805</c:v>
                </c:pt>
                <c:pt idx="30">
                  <c:v>44806</c:v>
                </c:pt>
                <c:pt idx="31">
                  <c:v>44807</c:v>
                </c:pt>
                <c:pt idx="32">
                  <c:v>44808</c:v>
                </c:pt>
                <c:pt idx="33">
                  <c:v>44809</c:v>
                </c:pt>
                <c:pt idx="34">
                  <c:v>44810</c:v>
                </c:pt>
                <c:pt idx="35">
                  <c:v>44811</c:v>
                </c:pt>
                <c:pt idx="36">
                  <c:v>44812</c:v>
                </c:pt>
                <c:pt idx="37">
                  <c:v>44813</c:v>
                </c:pt>
                <c:pt idx="38">
                  <c:v>44814</c:v>
                </c:pt>
                <c:pt idx="39">
                  <c:v>44815</c:v>
                </c:pt>
                <c:pt idx="40">
                  <c:v>44816</c:v>
                </c:pt>
                <c:pt idx="41">
                  <c:v>44817</c:v>
                </c:pt>
                <c:pt idx="42">
                  <c:v>44818</c:v>
                </c:pt>
                <c:pt idx="43">
                  <c:v>44819</c:v>
                </c:pt>
                <c:pt idx="44">
                  <c:v>44820</c:v>
                </c:pt>
                <c:pt idx="45">
                  <c:v>44821</c:v>
                </c:pt>
                <c:pt idx="46">
                  <c:v>44822</c:v>
                </c:pt>
                <c:pt idx="47">
                  <c:v>44823</c:v>
                </c:pt>
                <c:pt idx="48">
                  <c:v>44824</c:v>
                </c:pt>
                <c:pt idx="49">
                  <c:v>44825</c:v>
                </c:pt>
                <c:pt idx="50">
                  <c:v>44826</c:v>
                </c:pt>
                <c:pt idx="51">
                  <c:v>44827</c:v>
                </c:pt>
                <c:pt idx="52">
                  <c:v>44828</c:v>
                </c:pt>
                <c:pt idx="53">
                  <c:v>44829</c:v>
                </c:pt>
                <c:pt idx="54">
                  <c:v>44830</c:v>
                </c:pt>
              </c:numCache>
            </c:numRef>
          </c:cat>
          <c:val>
            <c:numRef>
              <c:f>Sheet1!$E$4:$E$58</c:f>
              <c:numCache>
                <c:formatCode>0</c:formatCode>
                <c:ptCount val="55"/>
                <c:pt idx="0">
                  <c:v>523.80458537142852</c:v>
                </c:pt>
                <c:pt idx="1">
                  <c:v>523.04193737142862</c:v>
                </c:pt>
                <c:pt idx="2">
                  <c:v>491.35036698571423</c:v>
                </c:pt>
                <c:pt idx="3">
                  <c:v>485.28381281428574</c:v>
                </c:pt>
                <c:pt idx="4">
                  <c:v>476.52508708571423</c:v>
                </c:pt>
                <c:pt idx="5">
                  <c:v>469.44535185714284</c:v>
                </c:pt>
                <c:pt idx="6">
                  <c:v>451.09885404999994</c:v>
                </c:pt>
                <c:pt idx="7">
                  <c:v>442.18271060296485</c:v>
                </c:pt>
                <c:pt idx="8">
                  <c:v>452.96899019045298</c:v>
                </c:pt>
                <c:pt idx="9">
                  <c:v>478.83283428174468</c:v>
                </c:pt>
                <c:pt idx="10">
                  <c:v>511.8760824572559</c:v>
                </c:pt>
                <c:pt idx="11">
                  <c:v>536.93088262634149</c:v>
                </c:pt>
                <c:pt idx="12">
                  <c:v>535.16474522206408</c:v>
                </c:pt>
                <c:pt idx="13">
                  <c:v>535.16474522206408</c:v>
                </c:pt>
                <c:pt idx="14">
                  <c:v>571.81994876935607</c:v>
                </c:pt>
                <c:pt idx="15">
                  <c:v>588.12376095274294</c:v>
                </c:pt>
                <c:pt idx="16">
                  <c:v>570.22376981700552</c:v>
                </c:pt>
                <c:pt idx="17">
                  <c:v>506.67677519562562</c:v>
                </c:pt>
                <c:pt idx="18">
                  <c:v>501.98115826205134</c:v>
                </c:pt>
                <c:pt idx="19">
                  <c:v>520</c:v>
                </c:pt>
                <c:pt idx="20">
                  <c:v>502</c:v>
                </c:pt>
                <c:pt idx="21">
                  <c:v>467</c:v>
                </c:pt>
                <c:pt idx="22">
                  <c:v>424</c:v>
                </c:pt>
                <c:pt idx="23">
                  <c:v>416</c:v>
                </c:pt>
                <c:pt idx="24">
                  <c:v>426</c:v>
                </c:pt>
                <c:pt idx="25">
                  <c:v>399</c:v>
                </c:pt>
                <c:pt idx="26">
                  <c:v>394</c:v>
                </c:pt>
                <c:pt idx="27">
                  <c:v>410</c:v>
                </c:pt>
                <c:pt idx="28">
                  <c:v>460</c:v>
                </c:pt>
                <c:pt idx="29">
                  <c:v>470</c:v>
                </c:pt>
                <c:pt idx="30">
                  <c:v>501</c:v>
                </c:pt>
                <c:pt idx="31">
                  <c:v>558</c:v>
                </c:pt>
                <c:pt idx="32">
                  <c:v>669</c:v>
                </c:pt>
                <c:pt idx="33">
                  <c:v>718</c:v>
                </c:pt>
                <c:pt idx="34">
                  <c:v>704.58368021989895</c:v>
                </c:pt>
                <c:pt idx="35">
                  <c:v>701.29129285087333</c:v>
                </c:pt>
                <c:pt idx="36">
                  <c:v>743.20912088587977</c:v>
                </c:pt>
                <c:pt idx="37">
                  <c:v>739.39525036276871</c:v>
                </c:pt>
                <c:pt idx="38">
                  <c:v>703.54762037403555</c:v>
                </c:pt>
                <c:pt idx="39">
                  <c:v>639.6101572042096</c:v>
                </c:pt>
                <c:pt idx="40">
                  <c:v>714.31833200764129</c:v>
                </c:pt>
                <c:pt idx="41">
                  <c:v>728.58558331798201</c:v>
                </c:pt>
                <c:pt idx="42">
                  <c:v>745.09401431260915</c:v>
                </c:pt>
                <c:pt idx="43">
                  <c:v>712.08814314825906</c:v>
                </c:pt>
                <c:pt idx="44">
                  <c:v>665.45652329371035</c:v>
                </c:pt>
                <c:pt idx="45">
                  <c:v>666.87822200254686</c:v>
                </c:pt>
                <c:pt idx="46">
                  <c:v>633.39014826437995</c:v>
                </c:pt>
                <c:pt idx="47">
                  <c:v>531.84709433788714</c:v>
                </c:pt>
                <c:pt idx="48">
                  <c:v>526.70423719503003</c:v>
                </c:pt>
                <c:pt idx="49">
                  <c:v>509.57142857142856</c:v>
                </c:pt>
                <c:pt idx="50">
                  <c:v>526.57814792816748</c:v>
                </c:pt>
                <c:pt idx="51">
                  <c:v>741.02964884653454</c:v>
                </c:pt>
                <c:pt idx="52">
                  <c:v>864.15977744638451</c:v>
                </c:pt>
                <c:pt idx="53">
                  <c:v>924.84009660817878</c:v>
                </c:pt>
                <c:pt idx="54">
                  <c:v>1125.6416867170005</c:v>
                </c:pt>
              </c:numCache>
            </c:numRef>
          </c:val>
          <c:smooth val="1"/>
          <c:extLst>
            <c:ext xmlns:c16="http://schemas.microsoft.com/office/drawing/2014/chart" uri="{C3380CC4-5D6E-409C-BE32-E72D297353CC}">
              <c16:uniqueId val="{00000003-D184-4EB7-83A9-0FA1FBEC78ED}"/>
            </c:ext>
          </c:extLst>
        </c:ser>
        <c:ser>
          <c:idx val="4"/>
          <c:order val="4"/>
          <c:tx>
            <c:strRef>
              <c:f>Sheet1!$F$1</c:f>
              <c:strCache>
                <c:ptCount val="1"/>
                <c:pt idx="0">
                  <c:v>MWRA South</c:v>
                </c:pt>
              </c:strCache>
            </c:strRef>
          </c:tx>
          <c:spPr>
            <a:ln w="19050" cap="rnd">
              <a:solidFill>
                <a:schemeClr val="accent5"/>
              </a:solidFill>
              <a:round/>
            </a:ln>
            <a:effectLst/>
          </c:spPr>
          <c:marker>
            <c:symbol val="none"/>
          </c:marker>
          <c:cat>
            <c:numRef>
              <c:f>Sheet1!$A$4:$A$58</c:f>
              <c:numCache>
                <c:formatCode>m/d/yyyy</c:formatCode>
                <c:ptCount val="55"/>
                <c:pt idx="0">
                  <c:v>44776</c:v>
                </c:pt>
                <c:pt idx="1">
                  <c:v>44777</c:v>
                </c:pt>
                <c:pt idx="2">
                  <c:v>44778</c:v>
                </c:pt>
                <c:pt idx="3">
                  <c:v>44779</c:v>
                </c:pt>
                <c:pt idx="4">
                  <c:v>44780</c:v>
                </c:pt>
                <c:pt idx="5">
                  <c:v>44781</c:v>
                </c:pt>
                <c:pt idx="6">
                  <c:v>44782</c:v>
                </c:pt>
                <c:pt idx="7">
                  <c:v>44783</c:v>
                </c:pt>
                <c:pt idx="8">
                  <c:v>44784</c:v>
                </c:pt>
                <c:pt idx="9">
                  <c:v>44785</c:v>
                </c:pt>
                <c:pt idx="10">
                  <c:v>44786</c:v>
                </c:pt>
                <c:pt idx="11">
                  <c:v>44787</c:v>
                </c:pt>
                <c:pt idx="12">
                  <c:v>44788</c:v>
                </c:pt>
                <c:pt idx="13">
                  <c:v>44789</c:v>
                </c:pt>
                <c:pt idx="14">
                  <c:v>44790</c:v>
                </c:pt>
                <c:pt idx="15">
                  <c:v>44791</c:v>
                </c:pt>
                <c:pt idx="16">
                  <c:v>44792</c:v>
                </c:pt>
                <c:pt idx="17">
                  <c:v>44793</c:v>
                </c:pt>
                <c:pt idx="18">
                  <c:v>44794</c:v>
                </c:pt>
                <c:pt idx="19">
                  <c:v>44795</c:v>
                </c:pt>
                <c:pt idx="20">
                  <c:v>44796</c:v>
                </c:pt>
                <c:pt idx="21">
                  <c:v>44797</c:v>
                </c:pt>
                <c:pt idx="22">
                  <c:v>44798</c:v>
                </c:pt>
                <c:pt idx="23">
                  <c:v>44799</c:v>
                </c:pt>
                <c:pt idx="24">
                  <c:v>44800</c:v>
                </c:pt>
                <c:pt idx="25">
                  <c:v>44801</c:v>
                </c:pt>
                <c:pt idx="26">
                  <c:v>44802</c:v>
                </c:pt>
                <c:pt idx="27">
                  <c:v>44803</c:v>
                </c:pt>
                <c:pt idx="28">
                  <c:v>44804</c:v>
                </c:pt>
                <c:pt idx="29">
                  <c:v>44805</c:v>
                </c:pt>
                <c:pt idx="30">
                  <c:v>44806</c:v>
                </c:pt>
                <c:pt idx="31">
                  <c:v>44807</c:v>
                </c:pt>
                <c:pt idx="32">
                  <c:v>44808</c:v>
                </c:pt>
                <c:pt idx="33">
                  <c:v>44809</c:v>
                </c:pt>
                <c:pt idx="34">
                  <c:v>44810</c:v>
                </c:pt>
                <c:pt idx="35">
                  <c:v>44811</c:v>
                </c:pt>
                <c:pt idx="36">
                  <c:v>44812</c:v>
                </c:pt>
                <c:pt idx="37">
                  <c:v>44813</c:v>
                </c:pt>
                <c:pt idx="38">
                  <c:v>44814</c:v>
                </c:pt>
                <c:pt idx="39">
                  <c:v>44815</c:v>
                </c:pt>
                <c:pt idx="40">
                  <c:v>44816</c:v>
                </c:pt>
                <c:pt idx="41">
                  <c:v>44817</c:v>
                </c:pt>
                <c:pt idx="42">
                  <c:v>44818</c:v>
                </c:pt>
                <c:pt idx="43">
                  <c:v>44819</c:v>
                </c:pt>
                <c:pt idx="44">
                  <c:v>44820</c:v>
                </c:pt>
                <c:pt idx="45">
                  <c:v>44821</c:v>
                </c:pt>
                <c:pt idx="46">
                  <c:v>44822</c:v>
                </c:pt>
                <c:pt idx="47">
                  <c:v>44823</c:v>
                </c:pt>
                <c:pt idx="48">
                  <c:v>44824</c:v>
                </c:pt>
                <c:pt idx="49">
                  <c:v>44825</c:v>
                </c:pt>
                <c:pt idx="50">
                  <c:v>44826</c:v>
                </c:pt>
                <c:pt idx="51">
                  <c:v>44827</c:v>
                </c:pt>
                <c:pt idx="52">
                  <c:v>44828</c:v>
                </c:pt>
                <c:pt idx="53">
                  <c:v>44829</c:v>
                </c:pt>
                <c:pt idx="54">
                  <c:v>44830</c:v>
                </c:pt>
              </c:numCache>
            </c:numRef>
          </c:cat>
          <c:val>
            <c:numRef>
              <c:f>Sheet1!$F$4:$F$58</c:f>
              <c:numCache>
                <c:formatCode>0</c:formatCode>
                <c:ptCount val="55"/>
                <c:pt idx="0">
                  <c:v>630.0179298571428</c:v>
                </c:pt>
                <c:pt idx="1">
                  <c:v>645.58298437142844</c:v>
                </c:pt>
                <c:pt idx="2">
                  <c:v>616.12857387142867</c:v>
                </c:pt>
                <c:pt idx="3">
                  <c:v>630.6338208285714</c:v>
                </c:pt>
                <c:pt idx="4">
                  <c:v>596.5579339285714</c:v>
                </c:pt>
                <c:pt idx="5">
                  <c:v>561.32504778571433</c:v>
                </c:pt>
                <c:pt idx="6">
                  <c:v>551.00368256666673</c:v>
                </c:pt>
                <c:pt idx="7">
                  <c:v>557.46806791759207</c:v>
                </c:pt>
                <c:pt idx="8">
                  <c:v>551.50679103815889</c:v>
                </c:pt>
                <c:pt idx="9">
                  <c:v>545.61883114054365</c:v>
                </c:pt>
                <c:pt idx="10">
                  <c:v>518.76348244644805</c:v>
                </c:pt>
                <c:pt idx="11">
                  <c:v>490.52417748990348</c:v>
                </c:pt>
                <c:pt idx="12">
                  <c:v>461.39186938951707</c:v>
                </c:pt>
                <c:pt idx="13">
                  <c:v>461.39186938951707</c:v>
                </c:pt>
                <c:pt idx="14">
                  <c:v>436.86051225580121</c:v>
                </c:pt>
                <c:pt idx="15">
                  <c:v>401.99126736565586</c:v>
                </c:pt>
                <c:pt idx="16">
                  <c:v>438.65273001440465</c:v>
                </c:pt>
                <c:pt idx="17">
                  <c:v>498.29159889033417</c:v>
                </c:pt>
                <c:pt idx="18">
                  <c:v>531.86780185508042</c:v>
                </c:pt>
                <c:pt idx="19">
                  <c:v>573</c:v>
                </c:pt>
                <c:pt idx="20">
                  <c:v>552</c:v>
                </c:pt>
                <c:pt idx="21">
                  <c:v>537</c:v>
                </c:pt>
                <c:pt idx="22">
                  <c:v>531</c:v>
                </c:pt>
                <c:pt idx="23">
                  <c:v>520</c:v>
                </c:pt>
                <c:pt idx="24">
                  <c:v>556</c:v>
                </c:pt>
                <c:pt idx="25">
                  <c:v>528</c:v>
                </c:pt>
                <c:pt idx="26">
                  <c:v>497</c:v>
                </c:pt>
                <c:pt idx="27">
                  <c:v>528</c:v>
                </c:pt>
                <c:pt idx="28">
                  <c:v>605</c:v>
                </c:pt>
                <c:pt idx="29">
                  <c:v>606</c:v>
                </c:pt>
                <c:pt idx="30">
                  <c:v>606</c:v>
                </c:pt>
                <c:pt idx="31">
                  <c:v>559</c:v>
                </c:pt>
                <c:pt idx="32">
                  <c:v>701</c:v>
                </c:pt>
                <c:pt idx="33">
                  <c:v>695</c:v>
                </c:pt>
                <c:pt idx="34">
                  <c:v>752.75431305851271</c:v>
                </c:pt>
                <c:pt idx="35">
                  <c:v>695.90674424642134</c:v>
                </c:pt>
                <c:pt idx="36">
                  <c:v>740.71488119221783</c:v>
                </c:pt>
                <c:pt idx="37">
                  <c:v>764.18416753084216</c:v>
                </c:pt>
                <c:pt idx="38">
                  <c:v>776.31918373977783</c:v>
                </c:pt>
                <c:pt idx="39">
                  <c:v>866.39731372768074</c:v>
                </c:pt>
                <c:pt idx="40">
                  <c:v>905.32359296033167</c:v>
                </c:pt>
                <c:pt idx="41">
                  <c:v>864.69228323495884</c:v>
                </c:pt>
                <c:pt idx="42">
                  <c:v>952.38245681328897</c:v>
                </c:pt>
                <c:pt idx="43">
                  <c:v>944.10240526219707</c:v>
                </c:pt>
                <c:pt idx="44">
                  <c:v>901.63417919015978</c:v>
                </c:pt>
                <c:pt idx="45">
                  <c:v>895.05034444539331</c:v>
                </c:pt>
                <c:pt idx="46">
                  <c:v>685.24120740713181</c:v>
                </c:pt>
                <c:pt idx="47">
                  <c:v>669.14285714285711</c:v>
                </c:pt>
                <c:pt idx="48">
                  <c:v>697.28571428571433</c:v>
                </c:pt>
                <c:pt idx="49">
                  <c:v>648.71428571428567</c:v>
                </c:pt>
                <c:pt idx="50">
                  <c:v>705.38512558030573</c:v>
                </c:pt>
                <c:pt idx="51">
                  <c:v>816.33005511256147</c:v>
                </c:pt>
                <c:pt idx="52">
                  <c:v>846.35478173181957</c:v>
                </c:pt>
                <c:pt idx="53">
                  <c:v>954.00955710812821</c:v>
                </c:pt>
                <c:pt idx="54">
                  <c:v>1018.5292193165625</c:v>
                </c:pt>
              </c:numCache>
            </c:numRef>
          </c:val>
          <c:smooth val="1"/>
          <c:extLst>
            <c:ext xmlns:c16="http://schemas.microsoft.com/office/drawing/2014/chart" uri="{C3380CC4-5D6E-409C-BE32-E72D297353CC}">
              <c16:uniqueId val="{00000004-D184-4EB7-83A9-0FA1FBEC78ED}"/>
            </c:ext>
          </c:extLst>
        </c:ser>
        <c:ser>
          <c:idx val="5"/>
          <c:order val="5"/>
          <c:tx>
            <c:strRef>
              <c:f>Sheet1!$G$1</c:f>
              <c:strCache>
                <c:ptCount val="1"/>
                <c:pt idx="0">
                  <c:v>Peabody</c:v>
                </c:pt>
              </c:strCache>
            </c:strRef>
          </c:tx>
          <c:spPr>
            <a:ln w="19050" cap="rnd">
              <a:solidFill>
                <a:schemeClr val="accent6"/>
              </a:solidFill>
              <a:round/>
            </a:ln>
            <a:effectLst/>
          </c:spPr>
          <c:marker>
            <c:symbol val="none"/>
          </c:marker>
          <c:cat>
            <c:numRef>
              <c:f>Sheet1!$A$4:$A$58</c:f>
              <c:numCache>
                <c:formatCode>m/d/yyyy</c:formatCode>
                <c:ptCount val="55"/>
                <c:pt idx="0">
                  <c:v>44776</c:v>
                </c:pt>
                <c:pt idx="1">
                  <c:v>44777</c:v>
                </c:pt>
                <c:pt idx="2">
                  <c:v>44778</c:v>
                </c:pt>
                <c:pt idx="3">
                  <c:v>44779</c:v>
                </c:pt>
                <c:pt idx="4">
                  <c:v>44780</c:v>
                </c:pt>
                <c:pt idx="5">
                  <c:v>44781</c:v>
                </c:pt>
                <c:pt idx="6">
                  <c:v>44782</c:v>
                </c:pt>
                <c:pt idx="7">
                  <c:v>44783</c:v>
                </c:pt>
                <c:pt idx="8">
                  <c:v>44784</c:v>
                </c:pt>
                <c:pt idx="9">
                  <c:v>44785</c:v>
                </c:pt>
                <c:pt idx="10">
                  <c:v>44786</c:v>
                </c:pt>
                <c:pt idx="11">
                  <c:v>44787</c:v>
                </c:pt>
                <c:pt idx="12">
                  <c:v>44788</c:v>
                </c:pt>
                <c:pt idx="13">
                  <c:v>44789</c:v>
                </c:pt>
                <c:pt idx="14">
                  <c:v>44790</c:v>
                </c:pt>
                <c:pt idx="15">
                  <c:v>44791</c:v>
                </c:pt>
                <c:pt idx="16">
                  <c:v>44792</c:v>
                </c:pt>
                <c:pt idx="17">
                  <c:v>44793</c:v>
                </c:pt>
                <c:pt idx="18">
                  <c:v>44794</c:v>
                </c:pt>
                <c:pt idx="19">
                  <c:v>44795</c:v>
                </c:pt>
                <c:pt idx="20">
                  <c:v>44796</c:v>
                </c:pt>
                <c:pt idx="21">
                  <c:v>44797</c:v>
                </c:pt>
                <c:pt idx="22">
                  <c:v>44798</c:v>
                </c:pt>
                <c:pt idx="23">
                  <c:v>44799</c:v>
                </c:pt>
                <c:pt idx="24">
                  <c:v>44800</c:v>
                </c:pt>
                <c:pt idx="25">
                  <c:v>44801</c:v>
                </c:pt>
                <c:pt idx="26">
                  <c:v>44802</c:v>
                </c:pt>
                <c:pt idx="27">
                  <c:v>44803</c:v>
                </c:pt>
                <c:pt idx="28">
                  <c:v>44804</c:v>
                </c:pt>
                <c:pt idx="29">
                  <c:v>44805</c:v>
                </c:pt>
                <c:pt idx="30">
                  <c:v>44806</c:v>
                </c:pt>
                <c:pt idx="31">
                  <c:v>44807</c:v>
                </c:pt>
                <c:pt idx="32">
                  <c:v>44808</c:v>
                </c:pt>
                <c:pt idx="33">
                  <c:v>44809</c:v>
                </c:pt>
                <c:pt idx="34">
                  <c:v>44810</c:v>
                </c:pt>
                <c:pt idx="35">
                  <c:v>44811</c:v>
                </c:pt>
                <c:pt idx="36">
                  <c:v>44812</c:v>
                </c:pt>
                <c:pt idx="37">
                  <c:v>44813</c:v>
                </c:pt>
                <c:pt idx="38">
                  <c:v>44814</c:v>
                </c:pt>
                <c:pt idx="39">
                  <c:v>44815</c:v>
                </c:pt>
                <c:pt idx="40">
                  <c:v>44816</c:v>
                </c:pt>
                <c:pt idx="41">
                  <c:v>44817</c:v>
                </c:pt>
                <c:pt idx="42">
                  <c:v>44818</c:v>
                </c:pt>
                <c:pt idx="43">
                  <c:v>44819</c:v>
                </c:pt>
                <c:pt idx="44">
                  <c:v>44820</c:v>
                </c:pt>
                <c:pt idx="45">
                  <c:v>44821</c:v>
                </c:pt>
                <c:pt idx="46">
                  <c:v>44822</c:v>
                </c:pt>
                <c:pt idx="47">
                  <c:v>44823</c:v>
                </c:pt>
                <c:pt idx="48">
                  <c:v>44824</c:v>
                </c:pt>
                <c:pt idx="49">
                  <c:v>44825</c:v>
                </c:pt>
                <c:pt idx="50">
                  <c:v>44826</c:v>
                </c:pt>
                <c:pt idx="51">
                  <c:v>44827</c:v>
                </c:pt>
                <c:pt idx="52">
                  <c:v>44828</c:v>
                </c:pt>
                <c:pt idx="53">
                  <c:v>44829</c:v>
                </c:pt>
                <c:pt idx="54">
                  <c:v>44830</c:v>
                </c:pt>
              </c:numCache>
            </c:numRef>
          </c:cat>
          <c:val>
            <c:numRef>
              <c:f>Sheet1!$G$4:$G$58</c:f>
              <c:numCache>
                <c:formatCode>0</c:formatCode>
                <c:ptCount val="55"/>
                <c:pt idx="0">
                  <c:v>1377.1218812500001</c:v>
                </c:pt>
                <c:pt idx="1">
                  <c:v>1189.8270916666668</c:v>
                </c:pt>
                <c:pt idx="2">
                  <c:v>1149.8219610000001</c:v>
                </c:pt>
                <c:pt idx="3">
                  <c:v>1123.8482416666666</c:v>
                </c:pt>
                <c:pt idx="4">
                  <c:v>1123.8482416666666</c:v>
                </c:pt>
                <c:pt idx="5">
                  <c:v>1178.3682065</c:v>
                </c:pt>
                <c:pt idx="6">
                  <c:v>1178.3682065</c:v>
                </c:pt>
                <c:pt idx="7">
                  <c:v>1029.8065690000001</c:v>
                </c:pt>
                <c:pt idx="8">
                  <c:v>924.39043175599295</c:v>
                </c:pt>
                <c:pt idx="9">
                  <c:v>818.97429451198593</c:v>
                </c:pt>
                <c:pt idx="10">
                  <c:v>798.05897197295189</c:v>
                </c:pt>
                <c:pt idx="11">
                  <c:v>798.05897197295189</c:v>
                </c:pt>
                <c:pt idx="12">
                  <c:v>875.2871341001246</c:v>
                </c:pt>
                <c:pt idx="13">
                  <c:v>875.2871341001246</c:v>
                </c:pt>
                <c:pt idx="14">
                  <c:v>875.2871341001246</c:v>
                </c:pt>
                <c:pt idx="15">
                  <c:v>903.443553894194</c:v>
                </c:pt>
                <c:pt idx="16">
                  <c:v>909.22777316050303</c:v>
                </c:pt>
                <c:pt idx="17">
                  <c:v>975.26983502379551</c:v>
                </c:pt>
                <c:pt idx="18">
                  <c:v>1032.8989307131503</c:v>
                </c:pt>
                <c:pt idx="19">
                  <c:v>1034</c:v>
                </c:pt>
                <c:pt idx="20">
                  <c:v>1034</c:v>
                </c:pt>
                <c:pt idx="21">
                  <c:v>1034</c:v>
                </c:pt>
                <c:pt idx="22">
                  <c:v>1034</c:v>
                </c:pt>
                <c:pt idx="23">
                  <c:v>1148</c:v>
                </c:pt>
                <c:pt idx="24">
                  <c:v>1140</c:v>
                </c:pt>
                <c:pt idx="25">
                  <c:v>1132</c:v>
                </c:pt>
                <c:pt idx="26">
                  <c:v>1086</c:v>
                </c:pt>
                <c:pt idx="27">
                  <c:v>1086</c:v>
                </c:pt>
                <c:pt idx="28">
                  <c:v>1176</c:v>
                </c:pt>
                <c:pt idx="29">
                  <c:v>1176</c:v>
                </c:pt>
                <c:pt idx="30">
                  <c:v>1441</c:v>
                </c:pt>
                <c:pt idx="31">
                  <c:v>1544</c:v>
                </c:pt>
                <c:pt idx="32">
                  <c:v>1524</c:v>
                </c:pt>
                <c:pt idx="33">
                  <c:v>1562</c:v>
                </c:pt>
                <c:pt idx="34">
                  <c:v>1363.2131481600841</c:v>
                </c:pt>
                <c:pt idx="35">
                  <c:v>1238.9597986678141</c:v>
                </c:pt>
                <c:pt idx="36">
                  <c:v>1222.6136800959532</c:v>
                </c:pt>
                <c:pt idx="37">
                  <c:v>1020.3041948844141</c:v>
                </c:pt>
                <c:pt idx="38">
                  <c:v>1173.0016157103867</c:v>
                </c:pt>
                <c:pt idx="39">
                  <c:v>1098.4079086789231</c:v>
                </c:pt>
                <c:pt idx="40">
                  <c:v>1104.2135083960031</c:v>
                </c:pt>
                <c:pt idx="41">
                  <c:v>1144.6223832224175</c:v>
                </c:pt>
                <c:pt idx="42">
                  <c:v>1411.9602418482937</c:v>
                </c:pt>
                <c:pt idx="43">
                  <c:v>1479.7295305012046</c:v>
                </c:pt>
                <c:pt idx="44">
                  <c:v>1447.4290584425537</c:v>
                </c:pt>
                <c:pt idx="45">
                  <c:v>1325.1641430931295</c:v>
                </c:pt>
                <c:pt idx="46">
                  <c:v>1473.3460701920001</c:v>
                </c:pt>
                <c:pt idx="47">
                  <c:v>1555.8104437676002</c:v>
                </c:pt>
                <c:pt idx="48">
                  <c:v>1392.1138882110222</c:v>
                </c:pt>
                <c:pt idx="49">
                  <c:v>1165.4652054372962</c:v>
                </c:pt>
                <c:pt idx="50">
                  <c:v>1171.349921562992</c:v>
                </c:pt>
                <c:pt idx="51">
                  <c:v>1122.3908386813393</c:v>
                </c:pt>
                <c:pt idx="52">
                  <c:v>1361.5116014431496</c:v>
                </c:pt>
                <c:pt idx="53">
                  <c:v>1389.6340604033157</c:v>
                </c:pt>
                <c:pt idx="54">
                  <c:v>1369.4992312787867</c:v>
                </c:pt>
              </c:numCache>
            </c:numRef>
          </c:val>
          <c:smooth val="0"/>
          <c:extLst>
            <c:ext xmlns:c16="http://schemas.microsoft.com/office/drawing/2014/chart" uri="{C3380CC4-5D6E-409C-BE32-E72D297353CC}">
              <c16:uniqueId val="{00000005-D184-4EB7-83A9-0FA1FBEC78ED}"/>
            </c:ext>
          </c:extLst>
        </c:ser>
        <c:ser>
          <c:idx val="6"/>
          <c:order val="6"/>
          <c:tx>
            <c:strRef>
              <c:f>Sheet1!$H$1</c:f>
              <c:strCache>
                <c:ptCount val="1"/>
                <c:pt idx="0">
                  <c:v>Salem</c:v>
                </c:pt>
              </c:strCache>
            </c:strRef>
          </c:tx>
          <c:spPr>
            <a:ln w="19050" cap="rnd">
              <a:solidFill>
                <a:schemeClr val="tx2"/>
              </a:solidFill>
              <a:round/>
            </a:ln>
            <a:effectLst/>
          </c:spPr>
          <c:marker>
            <c:symbol val="none"/>
          </c:marker>
          <c:cat>
            <c:numRef>
              <c:f>Sheet1!$A$4:$A$58</c:f>
              <c:numCache>
                <c:formatCode>m/d/yyyy</c:formatCode>
                <c:ptCount val="55"/>
                <c:pt idx="0">
                  <c:v>44776</c:v>
                </c:pt>
                <c:pt idx="1">
                  <c:v>44777</c:v>
                </c:pt>
                <c:pt idx="2">
                  <c:v>44778</c:v>
                </c:pt>
                <c:pt idx="3">
                  <c:v>44779</c:v>
                </c:pt>
                <c:pt idx="4">
                  <c:v>44780</c:v>
                </c:pt>
                <c:pt idx="5">
                  <c:v>44781</c:v>
                </c:pt>
                <c:pt idx="6">
                  <c:v>44782</c:v>
                </c:pt>
                <c:pt idx="7">
                  <c:v>44783</c:v>
                </c:pt>
                <c:pt idx="8">
                  <c:v>44784</c:v>
                </c:pt>
                <c:pt idx="9">
                  <c:v>44785</c:v>
                </c:pt>
                <c:pt idx="10">
                  <c:v>44786</c:v>
                </c:pt>
                <c:pt idx="11">
                  <c:v>44787</c:v>
                </c:pt>
                <c:pt idx="12">
                  <c:v>44788</c:v>
                </c:pt>
                <c:pt idx="13">
                  <c:v>44789</c:v>
                </c:pt>
                <c:pt idx="14">
                  <c:v>44790</c:v>
                </c:pt>
                <c:pt idx="15">
                  <c:v>44791</c:v>
                </c:pt>
                <c:pt idx="16">
                  <c:v>44792</c:v>
                </c:pt>
                <c:pt idx="17">
                  <c:v>44793</c:v>
                </c:pt>
                <c:pt idx="18">
                  <c:v>44794</c:v>
                </c:pt>
                <c:pt idx="19">
                  <c:v>44795</c:v>
                </c:pt>
                <c:pt idx="20">
                  <c:v>44796</c:v>
                </c:pt>
                <c:pt idx="21">
                  <c:v>44797</c:v>
                </c:pt>
                <c:pt idx="22">
                  <c:v>44798</c:v>
                </c:pt>
                <c:pt idx="23">
                  <c:v>44799</c:v>
                </c:pt>
                <c:pt idx="24">
                  <c:v>44800</c:v>
                </c:pt>
                <c:pt idx="25">
                  <c:v>44801</c:v>
                </c:pt>
                <c:pt idx="26">
                  <c:v>44802</c:v>
                </c:pt>
                <c:pt idx="27">
                  <c:v>44803</c:v>
                </c:pt>
                <c:pt idx="28">
                  <c:v>44804</c:v>
                </c:pt>
                <c:pt idx="29">
                  <c:v>44805</c:v>
                </c:pt>
                <c:pt idx="30">
                  <c:v>44806</c:v>
                </c:pt>
                <c:pt idx="31">
                  <c:v>44807</c:v>
                </c:pt>
                <c:pt idx="32">
                  <c:v>44808</c:v>
                </c:pt>
                <c:pt idx="33">
                  <c:v>44809</c:v>
                </c:pt>
                <c:pt idx="34">
                  <c:v>44810</c:v>
                </c:pt>
                <c:pt idx="35">
                  <c:v>44811</c:v>
                </c:pt>
                <c:pt idx="36">
                  <c:v>44812</c:v>
                </c:pt>
                <c:pt idx="37">
                  <c:v>44813</c:v>
                </c:pt>
                <c:pt idx="38">
                  <c:v>44814</c:v>
                </c:pt>
                <c:pt idx="39">
                  <c:v>44815</c:v>
                </c:pt>
                <c:pt idx="40">
                  <c:v>44816</c:v>
                </c:pt>
                <c:pt idx="41">
                  <c:v>44817</c:v>
                </c:pt>
                <c:pt idx="42">
                  <c:v>44818</c:v>
                </c:pt>
                <c:pt idx="43">
                  <c:v>44819</c:v>
                </c:pt>
                <c:pt idx="44">
                  <c:v>44820</c:v>
                </c:pt>
                <c:pt idx="45">
                  <c:v>44821</c:v>
                </c:pt>
                <c:pt idx="46">
                  <c:v>44822</c:v>
                </c:pt>
                <c:pt idx="47">
                  <c:v>44823</c:v>
                </c:pt>
                <c:pt idx="48">
                  <c:v>44824</c:v>
                </c:pt>
                <c:pt idx="49">
                  <c:v>44825</c:v>
                </c:pt>
                <c:pt idx="50">
                  <c:v>44826</c:v>
                </c:pt>
                <c:pt idx="51">
                  <c:v>44827</c:v>
                </c:pt>
                <c:pt idx="52">
                  <c:v>44828</c:v>
                </c:pt>
                <c:pt idx="53">
                  <c:v>44829</c:v>
                </c:pt>
                <c:pt idx="54">
                  <c:v>44830</c:v>
                </c:pt>
              </c:numCache>
            </c:numRef>
          </c:cat>
          <c:val>
            <c:numRef>
              <c:f>Sheet1!$H$4:$H$58</c:f>
              <c:numCache>
                <c:formatCode>0</c:formatCode>
                <c:ptCount val="55"/>
                <c:pt idx="0">
                  <c:v>999.03203917499991</c:v>
                </c:pt>
                <c:pt idx="1">
                  <c:v>1017.7202764333333</c:v>
                </c:pt>
                <c:pt idx="2">
                  <c:v>1022.7383983249999</c:v>
                </c:pt>
                <c:pt idx="3">
                  <c:v>1003.2828470999999</c:v>
                </c:pt>
                <c:pt idx="4">
                  <c:v>910.84931592499993</c:v>
                </c:pt>
                <c:pt idx="5">
                  <c:v>891.30363780000005</c:v>
                </c:pt>
                <c:pt idx="6">
                  <c:v>891.30363780000005</c:v>
                </c:pt>
                <c:pt idx="7">
                  <c:v>835.67074320000006</c:v>
                </c:pt>
                <c:pt idx="8">
                  <c:v>765.24482538766335</c:v>
                </c:pt>
                <c:pt idx="9">
                  <c:v>628.97085608149496</c:v>
                </c:pt>
                <c:pt idx="10">
                  <c:v>732.65832817446824</c:v>
                </c:pt>
                <c:pt idx="11">
                  <c:v>782.21313106170248</c:v>
                </c:pt>
                <c:pt idx="12">
                  <c:v>825.43769074771808</c:v>
                </c:pt>
                <c:pt idx="13">
                  <c:v>825.43769074771808</c:v>
                </c:pt>
                <c:pt idx="14">
                  <c:v>825.43769074771808</c:v>
                </c:pt>
                <c:pt idx="15">
                  <c:v>925.96004124008198</c:v>
                </c:pt>
                <c:pt idx="16">
                  <c:v>914.51782514890238</c:v>
                </c:pt>
                <c:pt idx="17">
                  <c:v>901.76010154314599</c:v>
                </c:pt>
                <c:pt idx="18">
                  <c:v>914.37264922753036</c:v>
                </c:pt>
                <c:pt idx="19">
                  <c:v>916</c:v>
                </c:pt>
                <c:pt idx="20" formatCode="General">
                  <c:v>916</c:v>
                </c:pt>
                <c:pt idx="21" formatCode="General">
                  <c:v>916</c:v>
                </c:pt>
                <c:pt idx="22" formatCode="General">
                  <c:v>848</c:v>
                </c:pt>
                <c:pt idx="23" formatCode="General">
                  <c:v>827</c:v>
                </c:pt>
                <c:pt idx="24" formatCode="General">
                  <c:v>822</c:v>
                </c:pt>
                <c:pt idx="25" formatCode="General">
                  <c:v>763</c:v>
                </c:pt>
                <c:pt idx="26" formatCode="General">
                  <c:v>800</c:v>
                </c:pt>
                <c:pt idx="27" formatCode="General">
                  <c:v>800</c:v>
                </c:pt>
                <c:pt idx="28" formatCode="General">
                  <c:v>1022</c:v>
                </c:pt>
                <c:pt idx="29" formatCode="General">
                  <c:v>1050</c:v>
                </c:pt>
                <c:pt idx="30" formatCode="General">
                  <c:v>1287</c:v>
                </c:pt>
                <c:pt idx="31" formatCode="General">
                  <c:v>1405</c:v>
                </c:pt>
                <c:pt idx="32" formatCode="General">
                  <c:v>1417</c:v>
                </c:pt>
                <c:pt idx="33" formatCode="General">
                  <c:v>1403</c:v>
                </c:pt>
                <c:pt idx="34">
                  <c:v>1152.9865395694594</c:v>
                </c:pt>
                <c:pt idx="35">
                  <c:v>954.07384144868422</c:v>
                </c:pt>
                <c:pt idx="36">
                  <c:v>990.21677556491079</c:v>
                </c:pt>
                <c:pt idx="37">
                  <c:v>884.42870112006892</c:v>
                </c:pt>
                <c:pt idx="38">
                  <c:v>986.52890364787243</c:v>
                </c:pt>
                <c:pt idx="39">
                  <c:v>871.0788147836488</c:v>
                </c:pt>
                <c:pt idx="40">
                  <c:v>1076.0468443602433</c:v>
                </c:pt>
                <c:pt idx="41">
                  <c:v>1150.0418559071434</c:v>
                </c:pt>
                <c:pt idx="42">
                  <c:v>1249.5182216015685</c:v>
                </c:pt>
                <c:pt idx="43">
                  <c:v>1301.6459473693058</c:v>
                </c:pt>
                <c:pt idx="44">
                  <c:v>1202.2107372839857</c:v>
                </c:pt>
                <c:pt idx="45">
                  <c:v>1128.5059425332595</c:v>
                </c:pt>
                <c:pt idx="46">
                  <c:v>1188.9749636310266</c:v>
                </c:pt>
                <c:pt idx="47">
                  <c:v>908.10437030825233</c:v>
                </c:pt>
                <c:pt idx="48">
                  <c:v>872.7802657010692</c:v>
                </c:pt>
                <c:pt idx="49">
                  <c:v>832.52348312682068</c:v>
                </c:pt>
                <c:pt idx="50">
                  <c:v>832.52348312682068</c:v>
                </c:pt>
                <c:pt idx="51">
                  <c:v>846.55027621887848</c:v>
                </c:pt>
                <c:pt idx="52">
                  <c:v>1253.4200822967789</c:v>
                </c:pt>
                <c:pt idx="53">
                  <c:v>1416.9838231660499</c:v>
                </c:pt>
                <c:pt idx="54">
                  <c:v>1305.7641208086568</c:v>
                </c:pt>
              </c:numCache>
            </c:numRef>
          </c:val>
          <c:smooth val="0"/>
          <c:extLst>
            <c:ext xmlns:c16="http://schemas.microsoft.com/office/drawing/2014/chart" uri="{C3380CC4-5D6E-409C-BE32-E72D297353CC}">
              <c16:uniqueId val="{00000006-D184-4EB7-83A9-0FA1FBEC78ED}"/>
            </c:ext>
          </c:extLst>
        </c:ser>
        <c:dLbls>
          <c:showLegendKey val="0"/>
          <c:showVal val="0"/>
          <c:showCatName val="0"/>
          <c:showSerName val="0"/>
          <c:showPercent val="0"/>
          <c:showBubbleSize val="0"/>
        </c:dLbls>
        <c:smooth val="0"/>
        <c:axId val="494445784"/>
        <c:axId val="494447424"/>
      </c:lineChart>
      <c:dateAx>
        <c:axId val="494445784"/>
        <c:scaling>
          <c:orientation val="minMax"/>
          <c:max val="44830"/>
          <c:min val="44793"/>
        </c:scaling>
        <c:delete val="0"/>
        <c:axPos val="b"/>
        <c:majorGridlines>
          <c:spPr>
            <a:ln w="9525" cap="flat" cmpd="sng" algn="ctr">
              <a:solidFill>
                <a:schemeClr val="tx1">
                  <a:lumMod val="15000"/>
                  <a:lumOff val="85000"/>
                </a:schemeClr>
              </a:solidFill>
              <a:round/>
            </a:ln>
            <a:effectLst/>
          </c:spPr>
        </c:majorGridlines>
        <c:numFmt formatCode="m/d;@" sourceLinked="0"/>
        <c:majorTickMark val="out"/>
        <c:minorTickMark val="none"/>
        <c:tickLblPos val="low"/>
        <c:spPr>
          <a:solidFill>
            <a:schemeClr val="bg1"/>
          </a:solid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494447424"/>
        <c:crosses val="autoZero"/>
        <c:auto val="1"/>
        <c:lblOffset val="100"/>
        <c:baseTimeUnit val="days"/>
        <c:majorUnit val="4"/>
        <c:majorTimeUnit val="days"/>
      </c:dateAx>
      <c:valAx>
        <c:axId val="494447424"/>
        <c:scaling>
          <c:orientation val="minMax"/>
          <c:max val="650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Calibri" panose="020F0502020204030204" pitchFamily="34" charset="0"/>
              </a:defRPr>
            </a:pPr>
            <a:endParaRPr lang="en-US"/>
          </a:p>
        </c:txPr>
        <c:crossAx val="494445784"/>
        <c:crossesAt val="44593"/>
        <c:crossBetween val="midCat"/>
        <c:majorUnit val="10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957580060549135"/>
          <c:y val="6.6738920446538619E-2"/>
          <c:w val="0.81931293288947693"/>
          <c:h val="0.86652220107470168"/>
        </c:manualLayout>
      </c:layout>
      <c:lineChart>
        <c:grouping val="standard"/>
        <c:varyColors val="0"/>
        <c:ser>
          <c:idx val="0"/>
          <c:order val="0"/>
          <c:tx>
            <c:strRef>
              <c:f>Sheet1!$B$1</c:f>
              <c:strCache>
                <c:ptCount val="1"/>
                <c:pt idx="0">
                  <c:v>Athol</c:v>
                </c:pt>
              </c:strCache>
            </c:strRef>
          </c:tx>
          <c:spPr>
            <a:ln w="19050" cap="rnd">
              <a:solidFill>
                <a:schemeClr val="accent1"/>
              </a:solidFill>
              <a:round/>
            </a:ln>
            <a:effectLst/>
          </c:spPr>
          <c:marker>
            <c:symbol val="none"/>
          </c:marker>
          <c:cat>
            <c:numRef>
              <c:f>Sheet1!$A$2:$A$58</c:f>
              <c:numCache>
                <c:formatCode>m/d/yyyy</c:formatCode>
                <c:ptCount val="57"/>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c:v>44791</c:v>
                </c:pt>
                <c:pt idx="18">
                  <c:v>44792</c:v>
                </c:pt>
                <c:pt idx="19">
                  <c:v>44793</c:v>
                </c:pt>
                <c:pt idx="20">
                  <c:v>44794</c:v>
                </c:pt>
                <c:pt idx="21">
                  <c:v>44795</c:v>
                </c:pt>
                <c:pt idx="22">
                  <c:v>44796</c:v>
                </c:pt>
                <c:pt idx="23">
                  <c:v>44797</c:v>
                </c:pt>
                <c:pt idx="24">
                  <c:v>44798</c:v>
                </c:pt>
                <c:pt idx="25">
                  <c:v>44799</c:v>
                </c:pt>
                <c:pt idx="26">
                  <c:v>44800</c:v>
                </c:pt>
                <c:pt idx="27">
                  <c:v>44801</c:v>
                </c:pt>
                <c:pt idx="28">
                  <c:v>44802</c:v>
                </c:pt>
                <c:pt idx="29">
                  <c:v>44803</c:v>
                </c:pt>
                <c:pt idx="30">
                  <c:v>44804</c:v>
                </c:pt>
                <c:pt idx="31">
                  <c:v>44805</c:v>
                </c:pt>
                <c:pt idx="32">
                  <c:v>44806</c:v>
                </c:pt>
                <c:pt idx="33">
                  <c:v>44807</c:v>
                </c:pt>
                <c:pt idx="34">
                  <c:v>44808</c:v>
                </c:pt>
                <c:pt idx="35">
                  <c:v>44809</c:v>
                </c:pt>
                <c:pt idx="36">
                  <c:v>44810</c:v>
                </c:pt>
                <c:pt idx="37">
                  <c:v>44811</c:v>
                </c:pt>
                <c:pt idx="38">
                  <c:v>44812</c:v>
                </c:pt>
                <c:pt idx="39">
                  <c:v>44813</c:v>
                </c:pt>
                <c:pt idx="40">
                  <c:v>44814</c:v>
                </c:pt>
                <c:pt idx="41">
                  <c:v>44815</c:v>
                </c:pt>
                <c:pt idx="42">
                  <c:v>44816</c:v>
                </c:pt>
                <c:pt idx="43">
                  <c:v>44817</c:v>
                </c:pt>
                <c:pt idx="44">
                  <c:v>44818</c:v>
                </c:pt>
                <c:pt idx="45">
                  <c:v>44819</c:v>
                </c:pt>
                <c:pt idx="46">
                  <c:v>44820</c:v>
                </c:pt>
                <c:pt idx="47">
                  <c:v>44821</c:v>
                </c:pt>
                <c:pt idx="48">
                  <c:v>44822</c:v>
                </c:pt>
                <c:pt idx="49">
                  <c:v>44823</c:v>
                </c:pt>
                <c:pt idx="50">
                  <c:v>44824</c:v>
                </c:pt>
                <c:pt idx="51">
                  <c:v>44825</c:v>
                </c:pt>
                <c:pt idx="52">
                  <c:v>44826</c:v>
                </c:pt>
                <c:pt idx="53">
                  <c:v>44827</c:v>
                </c:pt>
                <c:pt idx="54">
                  <c:v>44828</c:v>
                </c:pt>
                <c:pt idx="55">
                  <c:v>44829</c:v>
                </c:pt>
                <c:pt idx="56">
                  <c:v>44830</c:v>
                </c:pt>
              </c:numCache>
            </c:numRef>
          </c:cat>
          <c:val>
            <c:numRef>
              <c:f>Sheet1!$B$2:$B$58</c:f>
              <c:numCache>
                <c:formatCode>0</c:formatCode>
                <c:ptCount val="57"/>
                <c:pt idx="0">
                  <c:v>612.29088385</c:v>
                </c:pt>
                <c:pt idx="1">
                  <c:v>896.65736277500002</c:v>
                </c:pt>
                <c:pt idx="2">
                  <c:v>1588.2779435</c:v>
                </c:pt>
                <c:pt idx="3">
                  <c:v>1729.7300446250001</c:v>
                </c:pt>
                <c:pt idx="4">
                  <c:v>1729.7300446250001</c:v>
                </c:pt>
                <c:pt idx="5">
                  <c:v>1729.7300446250001</c:v>
                </c:pt>
                <c:pt idx="6">
                  <c:v>1908.5301868333336</c:v>
                </c:pt>
                <c:pt idx="7">
                  <c:v>1783.4985618750002</c:v>
                </c:pt>
                <c:pt idx="8">
                  <c:v>1828.5946065000001</c:v>
                </c:pt>
                <c:pt idx="9">
                  <c:v>1146</c:v>
                </c:pt>
                <c:pt idx="10">
                  <c:v>995</c:v>
                </c:pt>
                <c:pt idx="11">
                  <c:v>995</c:v>
                </c:pt>
                <c:pt idx="12">
                  <c:v>995</c:v>
                </c:pt>
                <c:pt idx="13">
                  <c:v>995</c:v>
                </c:pt>
                <c:pt idx="14">
                  <c:v>382</c:v>
                </c:pt>
                <c:pt idx="15">
                  <c:v>382.1361878010585</c:v>
                </c:pt>
                <c:pt idx="16">
                  <c:v>446.85589613548228</c:v>
                </c:pt>
                <c:pt idx="17">
                  <c:v>949.72773446601013</c:v>
                </c:pt>
                <c:pt idx="18">
                  <c:v>949.72773446601013</c:v>
                </c:pt>
                <c:pt idx="19">
                  <c:v>949.72773446601013</c:v>
                </c:pt>
                <c:pt idx="20">
                  <c:v>949.72773446601013</c:v>
                </c:pt>
                <c:pt idx="21">
                  <c:v>1333.3940575245351</c:v>
                </c:pt>
                <c:pt idx="22">
                  <c:v>1111</c:v>
                </c:pt>
                <c:pt idx="23">
                  <c:v>1142</c:v>
                </c:pt>
                <c:pt idx="24">
                  <c:v>475</c:v>
                </c:pt>
                <c:pt idx="25">
                  <c:v>475</c:v>
                </c:pt>
                <c:pt idx="26">
                  <c:v>475</c:v>
                </c:pt>
                <c:pt idx="27">
                  <c:v>475</c:v>
                </c:pt>
                <c:pt idx="28">
                  <c:v>604</c:v>
                </c:pt>
                <c:pt idx="29">
                  <c:v>713</c:v>
                </c:pt>
                <c:pt idx="30">
                  <c:v>1496</c:v>
                </c:pt>
                <c:pt idx="31">
                  <c:v>3132</c:v>
                </c:pt>
                <c:pt idx="32">
                  <c:v>2695</c:v>
                </c:pt>
                <c:pt idx="33">
                  <c:v>2695</c:v>
                </c:pt>
                <c:pt idx="34">
                  <c:v>2695</c:v>
                </c:pt>
                <c:pt idx="35">
                  <c:v>2621</c:v>
                </c:pt>
                <c:pt idx="36">
                  <c:v>2565</c:v>
                </c:pt>
                <c:pt idx="37">
                  <c:v>1965</c:v>
                </c:pt>
                <c:pt idx="38">
                  <c:v>867</c:v>
                </c:pt>
                <c:pt idx="39">
                  <c:v>1107</c:v>
                </c:pt>
                <c:pt idx="40">
                  <c:v>1107</c:v>
                </c:pt>
                <c:pt idx="41">
                  <c:v>1216</c:v>
                </c:pt>
                <c:pt idx="42">
                  <c:v>1247</c:v>
                </c:pt>
                <c:pt idx="43">
                  <c:v>1472</c:v>
                </c:pt>
                <c:pt idx="44">
                  <c:v>1605</c:v>
                </c:pt>
                <c:pt idx="45">
                  <c:v>1668.9112716505927</c:v>
                </c:pt>
                <c:pt idx="46">
                  <c:v>1549.4358959824508</c:v>
                </c:pt>
                <c:pt idx="47">
                  <c:v>1549.4358959824508</c:v>
                </c:pt>
                <c:pt idx="48">
                  <c:v>1478.1234394863277</c:v>
                </c:pt>
                <c:pt idx="49">
                  <c:v>3620.2327925828467</c:v>
                </c:pt>
                <c:pt idx="50">
                  <c:v>4586.5782377418764</c:v>
                </c:pt>
                <c:pt idx="51">
                  <c:v>4586.5782377418764</c:v>
                </c:pt>
                <c:pt idx="52">
                  <c:v>6150.0425825746097</c:v>
                </c:pt>
                <c:pt idx="53">
                  <c:v>6150.0425825746097</c:v>
                </c:pt>
                <c:pt idx="54">
                  <c:v>6150.0425825746097</c:v>
                </c:pt>
                <c:pt idx="55">
                  <c:v>6150.0425825746097</c:v>
                </c:pt>
                <c:pt idx="56">
                  <c:v>3356.7496902005901</c:v>
                </c:pt>
              </c:numCache>
            </c:numRef>
          </c:val>
          <c:smooth val="1"/>
          <c:extLst>
            <c:ext xmlns:c16="http://schemas.microsoft.com/office/drawing/2014/chart" uri="{C3380CC4-5D6E-409C-BE32-E72D297353CC}">
              <c16:uniqueId val="{00000000-82FF-494B-A3F3-FBB5BE507C79}"/>
            </c:ext>
          </c:extLst>
        </c:ser>
        <c:ser>
          <c:idx val="1"/>
          <c:order val="1"/>
          <c:tx>
            <c:strRef>
              <c:f>Sheet1!$C$1</c:f>
              <c:strCache>
                <c:ptCount val="1"/>
                <c:pt idx="0">
                  <c:v>Douglas</c:v>
                </c:pt>
              </c:strCache>
            </c:strRef>
          </c:tx>
          <c:spPr>
            <a:ln w="19050" cap="rnd">
              <a:solidFill>
                <a:schemeClr val="accent2"/>
              </a:solidFill>
              <a:round/>
            </a:ln>
            <a:effectLst/>
          </c:spPr>
          <c:marker>
            <c:symbol val="none"/>
          </c:marker>
          <c:cat>
            <c:numRef>
              <c:f>Sheet1!$A$2:$A$58</c:f>
              <c:numCache>
                <c:formatCode>m/d/yyyy</c:formatCode>
                <c:ptCount val="57"/>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c:v>44791</c:v>
                </c:pt>
                <c:pt idx="18">
                  <c:v>44792</c:v>
                </c:pt>
                <c:pt idx="19">
                  <c:v>44793</c:v>
                </c:pt>
                <c:pt idx="20">
                  <c:v>44794</c:v>
                </c:pt>
                <c:pt idx="21">
                  <c:v>44795</c:v>
                </c:pt>
                <c:pt idx="22">
                  <c:v>44796</c:v>
                </c:pt>
                <c:pt idx="23">
                  <c:v>44797</c:v>
                </c:pt>
                <c:pt idx="24">
                  <c:v>44798</c:v>
                </c:pt>
                <c:pt idx="25">
                  <c:v>44799</c:v>
                </c:pt>
                <c:pt idx="26">
                  <c:v>44800</c:v>
                </c:pt>
                <c:pt idx="27">
                  <c:v>44801</c:v>
                </c:pt>
                <c:pt idx="28">
                  <c:v>44802</c:v>
                </c:pt>
                <c:pt idx="29">
                  <c:v>44803</c:v>
                </c:pt>
                <c:pt idx="30">
                  <c:v>44804</c:v>
                </c:pt>
                <c:pt idx="31">
                  <c:v>44805</c:v>
                </c:pt>
                <c:pt idx="32">
                  <c:v>44806</c:v>
                </c:pt>
                <c:pt idx="33">
                  <c:v>44807</c:v>
                </c:pt>
                <c:pt idx="34">
                  <c:v>44808</c:v>
                </c:pt>
                <c:pt idx="35">
                  <c:v>44809</c:v>
                </c:pt>
                <c:pt idx="36">
                  <c:v>44810</c:v>
                </c:pt>
                <c:pt idx="37">
                  <c:v>44811</c:v>
                </c:pt>
                <c:pt idx="38">
                  <c:v>44812</c:v>
                </c:pt>
                <c:pt idx="39">
                  <c:v>44813</c:v>
                </c:pt>
                <c:pt idx="40">
                  <c:v>44814</c:v>
                </c:pt>
                <c:pt idx="41">
                  <c:v>44815</c:v>
                </c:pt>
                <c:pt idx="42">
                  <c:v>44816</c:v>
                </c:pt>
                <c:pt idx="43">
                  <c:v>44817</c:v>
                </c:pt>
                <c:pt idx="44">
                  <c:v>44818</c:v>
                </c:pt>
                <c:pt idx="45">
                  <c:v>44819</c:v>
                </c:pt>
                <c:pt idx="46">
                  <c:v>44820</c:v>
                </c:pt>
                <c:pt idx="47">
                  <c:v>44821</c:v>
                </c:pt>
                <c:pt idx="48">
                  <c:v>44822</c:v>
                </c:pt>
                <c:pt idx="49">
                  <c:v>44823</c:v>
                </c:pt>
                <c:pt idx="50">
                  <c:v>44824</c:v>
                </c:pt>
                <c:pt idx="51">
                  <c:v>44825</c:v>
                </c:pt>
                <c:pt idx="52">
                  <c:v>44826</c:v>
                </c:pt>
                <c:pt idx="53">
                  <c:v>44827</c:v>
                </c:pt>
                <c:pt idx="54">
                  <c:v>44828</c:v>
                </c:pt>
                <c:pt idx="55">
                  <c:v>44829</c:v>
                </c:pt>
                <c:pt idx="56">
                  <c:v>44830</c:v>
                </c:pt>
              </c:numCache>
            </c:numRef>
          </c:cat>
          <c:val>
            <c:numRef>
              <c:f>Sheet1!$C$2:$C$58</c:f>
              <c:numCache>
                <c:formatCode>General</c:formatCode>
                <c:ptCount val="57"/>
                <c:pt idx="9">
                  <c:v>1904</c:v>
                </c:pt>
                <c:pt idx="10">
                  <c:v>272</c:v>
                </c:pt>
                <c:pt idx="11">
                  <c:v>272</c:v>
                </c:pt>
                <c:pt idx="12">
                  <c:v>272</c:v>
                </c:pt>
                <c:pt idx="13">
                  <c:v>272</c:v>
                </c:pt>
                <c:pt idx="14">
                  <c:v>272</c:v>
                </c:pt>
                <c:pt idx="15" formatCode="0">
                  <c:v>341.011820659318</c:v>
                </c:pt>
                <c:pt idx="16" formatCode="0">
                  <c:v>341.011820659318</c:v>
                </c:pt>
                <c:pt idx="17" formatCode="0">
                  <c:v>404.86535523626696</c:v>
                </c:pt>
                <c:pt idx="18" formatCode="0">
                  <c:v>404.86535523626696</c:v>
                </c:pt>
                <c:pt idx="19" formatCode="0">
                  <c:v>404.86535523626696</c:v>
                </c:pt>
                <c:pt idx="20" formatCode="0">
                  <c:v>404.86535523626696</c:v>
                </c:pt>
                <c:pt idx="21" formatCode="0">
                  <c:v>404.86535523626696</c:v>
                </c:pt>
                <c:pt idx="22">
                  <c:v>1017</c:v>
                </c:pt>
                <c:pt idx="23">
                  <c:v>1017</c:v>
                </c:pt>
                <c:pt idx="24">
                  <c:v>1212</c:v>
                </c:pt>
                <c:pt idx="25">
                  <c:v>1212</c:v>
                </c:pt>
                <c:pt idx="26">
                  <c:v>1212</c:v>
                </c:pt>
                <c:pt idx="27">
                  <c:v>1212</c:v>
                </c:pt>
                <c:pt idx="28">
                  <c:v>1212</c:v>
                </c:pt>
                <c:pt idx="29">
                  <c:v>1028</c:v>
                </c:pt>
                <c:pt idx="30">
                  <c:v>1028</c:v>
                </c:pt>
                <c:pt idx="31">
                  <c:v>2019</c:v>
                </c:pt>
                <c:pt idx="32">
                  <c:v>2019</c:v>
                </c:pt>
                <c:pt idx="33">
                  <c:v>2019</c:v>
                </c:pt>
                <c:pt idx="34">
                  <c:v>2019</c:v>
                </c:pt>
                <c:pt idx="35">
                  <c:v>2019</c:v>
                </c:pt>
                <c:pt idx="36">
                  <c:v>2250</c:v>
                </c:pt>
                <c:pt idx="37">
                  <c:v>2250</c:v>
                </c:pt>
                <c:pt idx="38">
                  <c:v>4175</c:v>
                </c:pt>
                <c:pt idx="39">
                  <c:v>4175</c:v>
                </c:pt>
                <c:pt idx="40">
                  <c:v>4175</c:v>
                </c:pt>
                <c:pt idx="41">
                  <c:v>4175</c:v>
                </c:pt>
                <c:pt idx="42">
                  <c:v>4175</c:v>
                </c:pt>
                <c:pt idx="43">
                  <c:v>3491</c:v>
                </c:pt>
                <c:pt idx="44">
                  <c:v>3491</c:v>
                </c:pt>
                <c:pt idx="45" formatCode="0">
                  <c:v>399.68746959461544</c:v>
                </c:pt>
                <c:pt idx="46" formatCode="0">
                  <c:v>399.68746959461544</c:v>
                </c:pt>
                <c:pt idx="47" formatCode="0">
                  <c:v>399.68746959461544</c:v>
                </c:pt>
                <c:pt idx="48" formatCode="0">
                  <c:v>399.68746959461544</c:v>
                </c:pt>
                <c:pt idx="49" formatCode="0">
                  <c:v>399.68746959461544</c:v>
                </c:pt>
                <c:pt idx="50" formatCode="0">
                  <c:v>546.75454839897793</c:v>
                </c:pt>
                <c:pt idx="51" formatCode="0">
                  <c:v>546.75454839897793</c:v>
                </c:pt>
              </c:numCache>
            </c:numRef>
          </c:val>
          <c:smooth val="1"/>
          <c:extLst>
            <c:ext xmlns:c16="http://schemas.microsoft.com/office/drawing/2014/chart" uri="{C3380CC4-5D6E-409C-BE32-E72D297353CC}">
              <c16:uniqueId val="{00000001-82FF-494B-A3F3-FBB5BE507C79}"/>
            </c:ext>
          </c:extLst>
        </c:ser>
        <c:ser>
          <c:idx val="2"/>
          <c:order val="2"/>
          <c:tx>
            <c:strRef>
              <c:f>Sheet1!$D$1</c:f>
              <c:strCache>
                <c:ptCount val="1"/>
                <c:pt idx="0">
                  <c:v>East Fitchburg</c:v>
                </c:pt>
              </c:strCache>
            </c:strRef>
          </c:tx>
          <c:spPr>
            <a:ln w="19050" cap="rnd">
              <a:solidFill>
                <a:srgbClr val="00B050"/>
              </a:solidFill>
              <a:round/>
            </a:ln>
            <a:effectLst/>
          </c:spPr>
          <c:marker>
            <c:symbol val="none"/>
          </c:marker>
          <c:cat>
            <c:numRef>
              <c:f>Sheet1!$A$2:$A$58</c:f>
              <c:numCache>
                <c:formatCode>m/d/yyyy</c:formatCode>
                <c:ptCount val="57"/>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c:v>44791</c:v>
                </c:pt>
                <c:pt idx="18">
                  <c:v>44792</c:v>
                </c:pt>
                <c:pt idx="19">
                  <c:v>44793</c:v>
                </c:pt>
                <c:pt idx="20">
                  <c:v>44794</c:v>
                </c:pt>
                <c:pt idx="21">
                  <c:v>44795</c:v>
                </c:pt>
                <c:pt idx="22">
                  <c:v>44796</c:v>
                </c:pt>
                <c:pt idx="23">
                  <c:v>44797</c:v>
                </c:pt>
                <c:pt idx="24">
                  <c:v>44798</c:v>
                </c:pt>
                <c:pt idx="25">
                  <c:v>44799</c:v>
                </c:pt>
                <c:pt idx="26">
                  <c:v>44800</c:v>
                </c:pt>
                <c:pt idx="27">
                  <c:v>44801</c:v>
                </c:pt>
                <c:pt idx="28">
                  <c:v>44802</c:v>
                </c:pt>
                <c:pt idx="29">
                  <c:v>44803</c:v>
                </c:pt>
                <c:pt idx="30">
                  <c:v>44804</c:v>
                </c:pt>
                <c:pt idx="31">
                  <c:v>44805</c:v>
                </c:pt>
                <c:pt idx="32">
                  <c:v>44806</c:v>
                </c:pt>
                <c:pt idx="33">
                  <c:v>44807</c:v>
                </c:pt>
                <c:pt idx="34">
                  <c:v>44808</c:v>
                </c:pt>
                <c:pt idx="35">
                  <c:v>44809</c:v>
                </c:pt>
                <c:pt idx="36">
                  <c:v>44810</c:v>
                </c:pt>
                <c:pt idx="37">
                  <c:v>44811</c:v>
                </c:pt>
                <c:pt idx="38">
                  <c:v>44812</c:v>
                </c:pt>
                <c:pt idx="39">
                  <c:v>44813</c:v>
                </c:pt>
                <c:pt idx="40">
                  <c:v>44814</c:v>
                </c:pt>
                <c:pt idx="41">
                  <c:v>44815</c:v>
                </c:pt>
                <c:pt idx="42">
                  <c:v>44816</c:v>
                </c:pt>
                <c:pt idx="43">
                  <c:v>44817</c:v>
                </c:pt>
                <c:pt idx="44">
                  <c:v>44818</c:v>
                </c:pt>
                <c:pt idx="45">
                  <c:v>44819</c:v>
                </c:pt>
                <c:pt idx="46">
                  <c:v>44820</c:v>
                </c:pt>
                <c:pt idx="47">
                  <c:v>44821</c:v>
                </c:pt>
                <c:pt idx="48">
                  <c:v>44822</c:v>
                </c:pt>
                <c:pt idx="49">
                  <c:v>44823</c:v>
                </c:pt>
                <c:pt idx="50">
                  <c:v>44824</c:v>
                </c:pt>
                <c:pt idx="51">
                  <c:v>44825</c:v>
                </c:pt>
                <c:pt idx="52">
                  <c:v>44826</c:v>
                </c:pt>
                <c:pt idx="53">
                  <c:v>44827</c:v>
                </c:pt>
                <c:pt idx="54">
                  <c:v>44828</c:v>
                </c:pt>
                <c:pt idx="55">
                  <c:v>44829</c:v>
                </c:pt>
                <c:pt idx="56">
                  <c:v>44830</c:v>
                </c:pt>
              </c:numCache>
            </c:numRef>
          </c:cat>
          <c:val>
            <c:numRef>
              <c:f>Sheet1!$D$2:$D$58</c:f>
              <c:numCache>
                <c:formatCode>0</c:formatCode>
                <c:ptCount val="57"/>
                <c:pt idx="0">
                  <c:v>1542.1977105000001</c:v>
                </c:pt>
                <c:pt idx="1">
                  <c:v>1662.9172047500001</c:v>
                </c:pt>
                <c:pt idx="2">
                  <c:v>1503.2089025</c:v>
                </c:pt>
                <c:pt idx="3">
                  <c:v>1708.3247514999998</c:v>
                </c:pt>
                <c:pt idx="4">
                  <c:v>1708.3247514999998</c:v>
                </c:pt>
                <c:pt idx="5">
                  <c:v>1708.3247514999998</c:v>
                </c:pt>
                <c:pt idx="6">
                  <c:v>1708.3247514999998</c:v>
                </c:pt>
                <c:pt idx="7">
                  <c:v>2285.4549132500001</c:v>
                </c:pt>
                <c:pt idx="8">
                  <c:v>2439.217596</c:v>
                </c:pt>
                <c:pt idx="9">
                  <c:v>2541</c:v>
                </c:pt>
                <c:pt idx="10">
                  <c:v>2147</c:v>
                </c:pt>
                <c:pt idx="11">
                  <c:v>2147</c:v>
                </c:pt>
                <c:pt idx="12">
                  <c:v>2147</c:v>
                </c:pt>
                <c:pt idx="13">
                  <c:v>2147</c:v>
                </c:pt>
                <c:pt idx="14">
                  <c:v>1413</c:v>
                </c:pt>
                <c:pt idx="15">
                  <c:v>1413.3495634355434</c:v>
                </c:pt>
                <c:pt idx="16">
                  <c:v>1451.7065927967699</c:v>
                </c:pt>
                <c:pt idx="17">
                  <c:v>1586.9790201693133</c:v>
                </c:pt>
                <c:pt idx="18">
                  <c:v>1586.9790201693133</c:v>
                </c:pt>
                <c:pt idx="19">
                  <c:v>1586.9790201693133</c:v>
                </c:pt>
                <c:pt idx="20">
                  <c:v>1586.9790201693133</c:v>
                </c:pt>
                <c:pt idx="21">
                  <c:v>3220.0063729838271</c:v>
                </c:pt>
                <c:pt idx="22">
                  <c:v>2697</c:v>
                </c:pt>
                <c:pt idx="23">
                  <c:v>2516</c:v>
                </c:pt>
                <c:pt idx="24">
                  <c:v>2405</c:v>
                </c:pt>
                <c:pt idx="25">
                  <c:v>2405</c:v>
                </c:pt>
                <c:pt idx="26">
                  <c:v>2405</c:v>
                </c:pt>
                <c:pt idx="27">
                  <c:v>2405</c:v>
                </c:pt>
                <c:pt idx="28">
                  <c:v>1023</c:v>
                </c:pt>
                <c:pt idx="29">
                  <c:v>1137</c:v>
                </c:pt>
                <c:pt idx="30">
                  <c:v>1195</c:v>
                </c:pt>
                <c:pt idx="31">
                  <c:v>1095</c:v>
                </c:pt>
                <c:pt idx="32">
                  <c:v>1180.017230333508</c:v>
                </c:pt>
                <c:pt idx="33">
                  <c:v>1180.017230333508</c:v>
                </c:pt>
                <c:pt idx="34">
                  <c:v>1180.017230333508</c:v>
                </c:pt>
                <c:pt idx="35">
                  <c:v>1563.528794161602</c:v>
                </c:pt>
                <c:pt idx="36">
                  <c:v>1495.6560426576521</c:v>
                </c:pt>
                <c:pt idx="37">
                  <c:v>1495.6229313357082</c:v>
                </c:pt>
                <c:pt idx="38">
                  <c:v>3026.5768802160082</c:v>
                </c:pt>
                <c:pt idx="39">
                  <c:v>3403.4318133227302</c:v>
                </c:pt>
                <c:pt idx="40">
                  <c:v>2873.1628193008573</c:v>
                </c:pt>
                <c:pt idx="41">
                  <c:v>2873.1628193008573</c:v>
                </c:pt>
                <c:pt idx="42">
                  <c:v>2430.6742635141936</c:v>
                </c:pt>
                <c:pt idx="43">
                  <c:v>2292.6242594485461</c:v>
                </c:pt>
                <c:pt idx="44">
                  <c:v>2343.2206078710042</c:v>
                </c:pt>
                <c:pt idx="45">
                  <c:v>947.02527599851385</c:v>
                </c:pt>
                <c:pt idx="46">
                  <c:v>947.02527599851385</c:v>
                </c:pt>
                <c:pt idx="47">
                  <c:v>995.75988419480075</c:v>
                </c:pt>
                <c:pt idx="48">
                  <c:v>995.75988419480075</c:v>
                </c:pt>
                <c:pt idx="49">
                  <c:v>1332.9004446899435</c:v>
                </c:pt>
                <c:pt idx="50">
                  <c:v>1591.9702667379568</c:v>
                </c:pt>
                <c:pt idx="51">
                  <c:v>1588.1364995641668</c:v>
                </c:pt>
                <c:pt idx="52">
                  <c:v>1633.2333499100951</c:v>
                </c:pt>
                <c:pt idx="53">
                  <c:v>1633.2333499100951</c:v>
                </c:pt>
                <c:pt idx="54">
                  <c:v>1633.2333499100951</c:v>
                </c:pt>
                <c:pt idx="55">
                  <c:v>1633.2333499100951</c:v>
                </c:pt>
                <c:pt idx="56">
                  <c:v>1429.1080016584999</c:v>
                </c:pt>
              </c:numCache>
            </c:numRef>
          </c:val>
          <c:smooth val="1"/>
          <c:extLst>
            <c:ext xmlns:c16="http://schemas.microsoft.com/office/drawing/2014/chart" uri="{C3380CC4-5D6E-409C-BE32-E72D297353CC}">
              <c16:uniqueId val="{00000001-1BA7-458C-8E02-95167C4D55E2}"/>
            </c:ext>
          </c:extLst>
        </c:ser>
        <c:ser>
          <c:idx val="3"/>
          <c:order val="3"/>
          <c:tx>
            <c:strRef>
              <c:f>Sheet1!$E$1</c:f>
              <c:strCache>
                <c:ptCount val="1"/>
                <c:pt idx="0">
                  <c:v>Grafton</c:v>
                </c:pt>
              </c:strCache>
            </c:strRef>
          </c:tx>
          <c:spPr>
            <a:ln w="19050" cap="rnd">
              <a:solidFill>
                <a:srgbClr val="F339DD"/>
              </a:solidFill>
              <a:round/>
            </a:ln>
            <a:effectLst/>
          </c:spPr>
          <c:marker>
            <c:symbol val="none"/>
          </c:marker>
          <c:cat>
            <c:numRef>
              <c:f>Sheet1!$A$2:$A$58</c:f>
              <c:numCache>
                <c:formatCode>m/d/yyyy</c:formatCode>
                <c:ptCount val="57"/>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c:v>44791</c:v>
                </c:pt>
                <c:pt idx="18">
                  <c:v>44792</c:v>
                </c:pt>
                <c:pt idx="19">
                  <c:v>44793</c:v>
                </c:pt>
                <c:pt idx="20">
                  <c:v>44794</c:v>
                </c:pt>
                <c:pt idx="21">
                  <c:v>44795</c:v>
                </c:pt>
                <c:pt idx="22">
                  <c:v>44796</c:v>
                </c:pt>
                <c:pt idx="23">
                  <c:v>44797</c:v>
                </c:pt>
                <c:pt idx="24">
                  <c:v>44798</c:v>
                </c:pt>
                <c:pt idx="25">
                  <c:v>44799</c:v>
                </c:pt>
                <c:pt idx="26">
                  <c:v>44800</c:v>
                </c:pt>
                <c:pt idx="27">
                  <c:v>44801</c:v>
                </c:pt>
                <c:pt idx="28">
                  <c:v>44802</c:v>
                </c:pt>
                <c:pt idx="29">
                  <c:v>44803</c:v>
                </c:pt>
                <c:pt idx="30">
                  <c:v>44804</c:v>
                </c:pt>
                <c:pt idx="31">
                  <c:v>44805</c:v>
                </c:pt>
                <c:pt idx="32">
                  <c:v>44806</c:v>
                </c:pt>
                <c:pt idx="33">
                  <c:v>44807</c:v>
                </c:pt>
                <c:pt idx="34">
                  <c:v>44808</c:v>
                </c:pt>
                <c:pt idx="35">
                  <c:v>44809</c:v>
                </c:pt>
                <c:pt idx="36">
                  <c:v>44810</c:v>
                </c:pt>
                <c:pt idx="37">
                  <c:v>44811</c:v>
                </c:pt>
                <c:pt idx="38">
                  <c:v>44812</c:v>
                </c:pt>
                <c:pt idx="39">
                  <c:v>44813</c:v>
                </c:pt>
                <c:pt idx="40">
                  <c:v>44814</c:v>
                </c:pt>
                <c:pt idx="41">
                  <c:v>44815</c:v>
                </c:pt>
                <c:pt idx="42">
                  <c:v>44816</c:v>
                </c:pt>
                <c:pt idx="43">
                  <c:v>44817</c:v>
                </c:pt>
                <c:pt idx="44">
                  <c:v>44818</c:v>
                </c:pt>
                <c:pt idx="45">
                  <c:v>44819</c:v>
                </c:pt>
                <c:pt idx="46">
                  <c:v>44820</c:v>
                </c:pt>
                <c:pt idx="47">
                  <c:v>44821</c:v>
                </c:pt>
                <c:pt idx="48">
                  <c:v>44822</c:v>
                </c:pt>
                <c:pt idx="49">
                  <c:v>44823</c:v>
                </c:pt>
                <c:pt idx="50">
                  <c:v>44824</c:v>
                </c:pt>
                <c:pt idx="51">
                  <c:v>44825</c:v>
                </c:pt>
                <c:pt idx="52">
                  <c:v>44826</c:v>
                </c:pt>
                <c:pt idx="53">
                  <c:v>44827</c:v>
                </c:pt>
                <c:pt idx="54">
                  <c:v>44828</c:v>
                </c:pt>
                <c:pt idx="55">
                  <c:v>44829</c:v>
                </c:pt>
                <c:pt idx="56">
                  <c:v>44830</c:v>
                </c:pt>
              </c:numCache>
            </c:numRef>
          </c:cat>
          <c:val>
            <c:numRef>
              <c:f>Sheet1!$E$2:$E$58</c:f>
              <c:numCache>
                <c:formatCode>0</c:formatCode>
                <c:ptCount val="57"/>
                <c:pt idx="0">
                  <c:v>1961</c:v>
                </c:pt>
                <c:pt idx="1">
                  <c:v>1961</c:v>
                </c:pt>
                <c:pt idx="2">
                  <c:v>1763.5</c:v>
                </c:pt>
                <c:pt idx="3">
                  <c:v>1763.5</c:v>
                </c:pt>
                <c:pt idx="4">
                  <c:v>1763.5</c:v>
                </c:pt>
                <c:pt idx="5">
                  <c:v>1763.5</c:v>
                </c:pt>
                <c:pt idx="6">
                  <c:v>1763.5</c:v>
                </c:pt>
                <c:pt idx="7">
                  <c:v>1264.5</c:v>
                </c:pt>
                <c:pt idx="8">
                  <c:v>1265</c:v>
                </c:pt>
                <c:pt idx="9">
                  <c:v>1289</c:v>
                </c:pt>
                <c:pt idx="10">
                  <c:v>1289</c:v>
                </c:pt>
                <c:pt idx="11">
                  <c:v>1289</c:v>
                </c:pt>
                <c:pt idx="12">
                  <c:v>1289</c:v>
                </c:pt>
                <c:pt idx="13">
                  <c:v>1289</c:v>
                </c:pt>
                <c:pt idx="14">
                  <c:v>966</c:v>
                </c:pt>
                <c:pt idx="15">
                  <c:v>965.78859152970199</c:v>
                </c:pt>
                <c:pt idx="16">
                  <c:v>2146.6099117950271</c:v>
                </c:pt>
                <c:pt idx="17">
                  <c:v>2146.6099117950271</c:v>
                </c:pt>
                <c:pt idx="18">
                  <c:v>2146.6099117950271</c:v>
                </c:pt>
                <c:pt idx="19">
                  <c:v>2146.6099117950271</c:v>
                </c:pt>
                <c:pt idx="20">
                  <c:v>2146.6099117950271</c:v>
                </c:pt>
                <c:pt idx="21">
                  <c:v>2019.545688527696</c:v>
                </c:pt>
                <c:pt idx="22">
                  <c:v>2020</c:v>
                </c:pt>
                <c:pt idx="23">
                  <c:v>880</c:v>
                </c:pt>
                <c:pt idx="24">
                  <c:v>880</c:v>
                </c:pt>
                <c:pt idx="25">
                  <c:v>880</c:v>
                </c:pt>
                <c:pt idx="26">
                  <c:v>880</c:v>
                </c:pt>
                <c:pt idx="27">
                  <c:v>880</c:v>
                </c:pt>
                <c:pt idx="28">
                  <c:v>1582</c:v>
                </c:pt>
                <c:pt idx="29">
                  <c:v>1582</c:v>
                </c:pt>
                <c:pt idx="30">
                  <c:v>1892</c:v>
                </c:pt>
                <c:pt idx="31">
                  <c:v>1393</c:v>
                </c:pt>
                <c:pt idx="32">
                  <c:v>1393</c:v>
                </c:pt>
                <c:pt idx="33">
                  <c:v>1393</c:v>
                </c:pt>
                <c:pt idx="34">
                  <c:v>1393</c:v>
                </c:pt>
                <c:pt idx="35">
                  <c:v>895</c:v>
                </c:pt>
                <c:pt idx="36">
                  <c:v>862</c:v>
                </c:pt>
                <c:pt idx="37">
                  <c:v>721</c:v>
                </c:pt>
                <c:pt idx="38">
                  <c:v>634</c:v>
                </c:pt>
                <c:pt idx="39">
                  <c:v>634</c:v>
                </c:pt>
                <c:pt idx="40">
                  <c:v>634</c:v>
                </c:pt>
                <c:pt idx="41">
                  <c:v>634</c:v>
                </c:pt>
                <c:pt idx="42">
                  <c:v>767</c:v>
                </c:pt>
                <c:pt idx="43">
                  <c:v>736</c:v>
                </c:pt>
                <c:pt idx="44">
                  <c:v>1001</c:v>
                </c:pt>
                <c:pt idx="45">
                  <c:v>1001.3167496611725</c:v>
                </c:pt>
                <c:pt idx="46">
                  <c:v>1001.3167496611725</c:v>
                </c:pt>
                <c:pt idx="47">
                  <c:v>1001.3167496611725</c:v>
                </c:pt>
                <c:pt idx="48">
                  <c:v>1001.3167496611725</c:v>
                </c:pt>
                <c:pt idx="49">
                  <c:v>968.80226901179503</c:v>
                </c:pt>
                <c:pt idx="50">
                  <c:v>968.80226901179503</c:v>
                </c:pt>
              </c:numCache>
            </c:numRef>
          </c:val>
          <c:smooth val="0"/>
          <c:extLst>
            <c:ext xmlns:c16="http://schemas.microsoft.com/office/drawing/2014/chart" uri="{C3380CC4-5D6E-409C-BE32-E72D297353CC}">
              <c16:uniqueId val="{00000002-1BA7-458C-8E02-95167C4D55E2}"/>
            </c:ext>
          </c:extLst>
        </c:ser>
        <c:ser>
          <c:idx val="4"/>
          <c:order val="4"/>
          <c:tx>
            <c:strRef>
              <c:f>Sheet1!$F$1</c:f>
              <c:strCache>
                <c:ptCount val="1"/>
                <c:pt idx="0">
                  <c:v>North Brookfield</c:v>
                </c:pt>
              </c:strCache>
            </c:strRef>
          </c:tx>
          <c:spPr>
            <a:ln w="19050" cap="rnd">
              <a:solidFill>
                <a:schemeClr val="accent5"/>
              </a:solidFill>
              <a:round/>
            </a:ln>
            <a:effectLst/>
          </c:spPr>
          <c:marker>
            <c:symbol val="none"/>
          </c:marker>
          <c:cat>
            <c:numRef>
              <c:f>Sheet1!$A$2:$A$58</c:f>
              <c:numCache>
                <c:formatCode>m/d/yyyy</c:formatCode>
                <c:ptCount val="57"/>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c:v>44791</c:v>
                </c:pt>
                <c:pt idx="18">
                  <c:v>44792</c:v>
                </c:pt>
                <c:pt idx="19">
                  <c:v>44793</c:v>
                </c:pt>
                <c:pt idx="20">
                  <c:v>44794</c:v>
                </c:pt>
                <c:pt idx="21">
                  <c:v>44795</c:v>
                </c:pt>
                <c:pt idx="22">
                  <c:v>44796</c:v>
                </c:pt>
                <c:pt idx="23">
                  <c:v>44797</c:v>
                </c:pt>
                <c:pt idx="24">
                  <c:v>44798</c:v>
                </c:pt>
                <c:pt idx="25">
                  <c:v>44799</c:v>
                </c:pt>
                <c:pt idx="26">
                  <c:v>44800</c:v>
                </c:pt>
                <c:pt idx="27">
                  <c:v>44801</c:v>
                </c:pt>
                <c:pt idx="28">
                  <c:v>44802</c:v>
                </c:pt>
                <c:pt idx="29">
                  <c:v>44803</c:v>
                </c:pt>
                <c:pt idx="30">
                  <c:v>44804</c:v>
                </c:pt>
                <c:pt idx="31">
                  <c:v>44805</c:v>
                </c:pt>
                <c:pt idx="32">
                  <c:v>44806</c:v>
                </c:pt>
                <c:pt idx="33">
                  <c:v>44807</c:v>
                </c:pt>
                <c:pt idx="34">
                  <c:v>44808</c:v>
                </c:pt>
                <c:pt idx="35">
                  <c:v>44809</c:v>
                </c:pt>
                <c:pt idx="36">
                  <c:v>44810</c:v>
                </c:pt>
                <c:pt idx="37">
                  <c:v>44811</c:v>
                </c:pt>
                <c:pt idx="38">
                  <c:v>44812</c:v>
                </c:pt>
                <c:pt idx="39">
                  <c:v>44813</c:v>
                </c:pt>
                <c:pt idx="40">
                  <c:v>44814</c:v>
                </c:pt>
                <c:pt idx="41">
                  <c:v>44815</c:v>
                </c:pt>
                <c:pt idx="42">
                  <c:v>44816</c:v>
                </c:pt>
                <c:pt idx="43">
                  <c:v>44817</c:v>
                </c:pt>
                <c:pt idx="44">
                  <c:v>44818</c:v>
                </c:pt>
                <c:pt idx="45">
                  <c:v>44819</c:v>
                </c:pt>
                <c:pt idx="46">
                  <c:v>44820</c:v>
                </c:pt>
                <c:pt idx="47">
                  <c:v>44821</c:v>
                </c:pt>
                <c:pt idx="48">
                  <c:v>44822</c:v>
                </c:pt>
                <c:pt idx="49">
                  <c:v>44823</c:v>
                </c:pt>
                <c:pt idx="50">
                  <c:v>44824</c:v>
                </c:pt>
                <c:pt idx="51">
                  <c:v>44825</c:v>
                </c:pt>
                <c:pt idx="52">
                  <c:v>44826</c:v>
                </c:pt>
                <c:pt idx="53">
                  <c:v>44827</c:v>
                </c:pt>
                <c:pt idx="54">
                  <c:v>44828</c:v>
                </c:pt>
                <c:pt idx="55">
                  <c:v>44829</c:v>
                </c:pt>
                <c:pt idx="56">
                  <c:v>44830</c:v>
                </c:pt>
              </c:numCache>
            </c:numRef>
          </c:cat>
          <c:val>
            <c:numRef>
              <c:f>Sheet1!$F$2:$F$58</c:f>
              <c:numCache>
                <c:formatCode>#,##0</c:formatCode>
                <c:ptCount val="57"/>
                <c:pt idx="0" formatCode="0">
                  <c:v>768.5</c:v>
                </c:pt>
                <c:pt idx="1">
                  <c:v>906.5</c:v>
                </c:pt>
                <c:pt idx="2">
                  <c:v>906.5</c:v>
                </c:pt>
                <c:pt idx="3">
                  <c:v>401.5</c:v>
                </c:pt>
                <c:pt idx="4">
                  <c:v>401.5</c:v>
                </c:pt>
                <c:pt idx="5">
                  <c:v>401.5</c:v>
                </c:pt>
                <c:pt idx="6">
                  <c:v>401.5</c:v>
                </c:pt>
                <c:pt idx="7">
                  <c:v>401.5</c:v>
                </c:pt>
                <c:pt idx="8">
                  <c:v>442.5</c:v>
                </c:pt>
                <c:pt idx="9" formatCode="0">
                  <c:v>443</c:v>
                </c:pt>
                <c:pt idx="10" formatCode="0">
                  <c:v>408</c:v>
                </c:pt>
                <c:pt idx="11" formatCode="0">
                  <c:v>408</c:v>
                </c:pt>
                <c:pt idx="12" formatCode="0">
                  <c:v>408</c:v>
                </c:pt>
                <c:pt idx="13" formatCode="0">
                  <c:v>408</c:v>
                </c:pt>
                <c:pt idx="14" formatCode="0">
                  <c:v>408</c:v>
                </c:pt>
                <c:pt idx="15" formatCode="0">
                  <c:v>162.73015467247501</c:v>
                </c:pt>
                <c:pt idx="16" formatCode="0">
                  <c:v>162.73015467247501</c:v>
                </c:pt>
                <c:pt idx="17" formatCode="0">
                  <c:v>413.48974575733746</c:v>
                </c:pt>
                <c:pt idx="18" formatCode="0">
                  <c:v>413.48974575733746</c:v>
                </c:pt>
                <c:pt idx="19" formatCode="0">
                  <c:v>413.48974575733746</c:v>
                </c:pt>
                <c:pt idx="20" formatCode="0">
                  <c:v>413.48974575733746</c:v>
                </c:pt>
                <c:pt idx="21" formatCode="0">
                  <c:v>413.48974575733746</c:v>
                </c:pt>
                <c:pt idx="22" formatCode="0">
                  <c:v>720</c:v>
                </c:pt>
                <c:pt idx="23" formatCode="0">
                  <c:v>720</c:v>
                </c:pt>
                <c:pt idx="24" formatCode="0">
                  <c:v>810</c:v>
                </c:pt>
                <c:pt idx="25" formatCode="0">
                  <c:v>810</c:v>
                </c:pt>
                <c:pt idx="26" formatCode="0">
                  <c:v>810</c:v>
                </c:pt>
                <c:pt idx="27" formatCode="0">
                  <c:v>810</c:v>
                </c:pt>
                <c:pt idx="28" formatCode="0">
                  <c:v>810</c:v>
                </c:pt>
                <c:pt idx="29" formatCode="0">
                  <c:v>920</c:v>
                </c:pt>
                <c:pt idx="30" formatCode="0">
                  <c:v>920</c:v>
                </c:pt>
                <c:pt idx="31" formatCode="0">
                  <c:v>1491</c:v>
                </c:pt>
                <c:pt idx="32" formatCode="0">
                  <c:v>1491</c:v>
                </c:pt>
                <c:pt idx="33" formatCode="0">
                  <c:v>1491</c:v>
                </c:pt>
                <c:pt idx="34" formatCode="0">
                  <c:v>1491</c:v>
                </c:pt>
                <c:pt idx="35" formatCode="0">
                  <c:v>1491</c:v>
                </c:pt>
                <c:pt idx="36" formatCode="0">
                  <c:v>1173</c:v>
                </c:pt>
                <c:pt idx="37" formatCode="0">
                  <c:v>1173</c:v>
                </c:pt>
                <c:pt idx="38" formatCode="0">
                  <c:v>962</c:v>
                </c:pt>
                <c:pt idx="39" formatCode="0">
                  <c:v>962</c:v>
                </c:pt>
                <c:pt idx="40" formatCode="0">
                  <c:v>962</c:v>
                </c:pt>
                <c:pt idx="41" formatCode="0">
                  <c:v>962</c:v>
                </c:pt>
                <c:pt idx="42" formatCode="0">
                  <c:v>962</c:v>
                </c:pt>
                <c:pt idx="43" formatCode="0">
                  <c:v>2356</c:v>
                </c:pt>
                <c:pt idx="44" formatCode="0">
                  <c:v>2356</c:v>
                </c:pt>
                <c:pt idx="45" formatCode="0">
                  <c:v>3108.5589684725301</c:v>
                </c:pt>
                <c:pt idx="46" formatCode="0">
                  <c:v>3108.5589684725301</c:v>
                </c:pt>
                <c:pt idx="47" formatCode="0">
                  <c:v>3108.5589684725301</c:v>
                </c:pt>
                <c:pt idx="48" formatCode="0">
                  <c:v>3108.5589684725301</c:v>
                </c:pt>
                <c:pt idx="49" formatCode="0">
                  <c:v>3108.5589684725301</c:v>
                </c:pt>
              </c:numCache>
            </c:numRef>
          </c:val>
          <c:smooth val="0"/>
          <c:extLst>
            <c:ext xmlns:c16="http://schemas.microsoft.com/office/drawing/2014/chart" uri="{C3380CC4-5D6E-409C-BE32-E72D297353CC}">
              <c16:uniqueId val="{00000003-1BA7-458C-8E02-95167C4D55E2}"/>
            </c:ext>
          </c:extLst>
        </c:ser>
        <c:ser>
          <c:idx val="5"/>
          <c:order val="5"/>
          <c:tx>
            <c:strRef>
              <c:f>Sheet1!$G$1</c:f>
              <c:strCache>
                <c:ptCount val="1"/>
                <c:pt idx="0">
                  <c:v>Upper Blackstone</c:v>
                </c:pt>
              </c:strCache>
            </c:strRef>
          </c:tx>
          <c:spPr>
            <a:ln w="19050" cap="rnd">
              <a:solidFill>
                <a:schemeClr val="accent6"/>
              </a:solidFill>
              <a:round/>
            </a:ln>
            <a:effectLst/>
          </c:spPr>
          <c:marker>
            <c:symbol val="none"/>
          </c:marker>
          <c:cat>
            <c:numRef>
              <c:f>Sheet1!$A$2:$A$58</c:f>
              <c:numCache>
                <c:formatCode>m/d/yyyy</c:formatCode>
                <c:ptCount val="57"/>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c:v>44791</c:v>
                </c:pt>
                <c:pt idx="18">
                  <c:v>44792</c:v>
                </c:pt>
                <c:pt idx="19">
                  <c:v>44793</c:v>
                </c:pt>
                <c:pt idx="20">
                  <c:v>44794</c:v>
                </c:pt>
                <c:pt idx="21">
                  <c:v>44795</c:v>
                </c:pt>
                <c:pt idx="22">
                  <c:v>44796</c:v>
                </c:pt>
                <c:pt idx="23">
                  <c:v>44797</c:v>
                </c:pt>
                <c:pt idx="24">
                  <c:v>44798</c:v>
                </c:pt>
                <c:pt idx="25">
                  <c:v>44799</c:v>
                </c:pt>
                <c:pt idx="26">
                  <c:v>44800</c:v>
                </c:pt>
                <c:pt idx="27">
                  <c:v>44801</c:v>
                </c:pt>
                <c:pt idx="28">
                  <c:v>44802</c:v>
                </c:pt>
                <c:pt idx="29">
                  <c:v>44803</c:v>
                </c:pt>
                <c:pt idx="30">
                  <c:v>44804</c:v>
                </c:pt>
                <c:pt idx="31">
                  <c:v>44805</c:v>
                </c:pt>
                <c:pt idx="32">
                  <c:v>44806</c:v>
                </c:pt>
                <c:pt idx="33">
                  <c:v>44807</c:v>
                </c:pt>
                <c:pt idx="34">
                  <c:v>44808</c:v>
                </c:pt>
                <c:pt idx="35">
                  <c:v>44809</c:v>
                </c:pt>
                <c:pt idx="36">
                  <c:v>44810</c:v>
                </c:pt>
                <c:pt idx="37">
                  <c:v>44811</c:v>
                </c:pt>
                <c:pt idx="38">
                  <c:v>44812</c:v>
                </c:pt>
                <c:pt idx="39">
                  <c:v>44813</c:v>
                </c:pt>
                <c:pt idx="40">
                  <c:v>44814</c:v>
                </c:pt>
                <c:pt idx="41">
                  <c:v>44815</c:v>
                </c:pt>
                <c:pt idx="42">
                  <c:v>44816</c:v>
                </c:pt>
                <c:pt idx="43">
                  <c:v>44817</c:v>
                </c:pt>
                <c:pt idx="44">
                  <c:v>44818</c:v>
                </c:pt>
                <c:pt idx="45">
                  <c:v>44819</c:v>
                </c:pt>
                <c:pt idx="46">
                  <c:v>44820</c:v>
                </c:pt>
                <c:pt idx="47">
                  <c:v>44821</c:v>
                </c:pt>
                <c:pt idx="48">
                  <c:v>44822</c:v>
                </c:pt>
                <c:pt idx="49">
                  <c:v>44823</c:v>
                </c:pt>
                <c:pt idx="50">
                  <c:v>44824</c:v>
                </c:pt>
                <c:pt idx="51">
                  <c:v>44825</c:v>
                </c:pt>
                <c:pt idx="52">
                  <c:v>44826</c:v>
                </c:pt>
                <c:pt idx="53">
                  <c:v>44827</c:v>
                </c:pt>
                <c:pt idx="54">
                  <c:v>44828</c:v>
                </c:pt>
                <c:pt idx="55">
                  <c:v>44829</c:v>
                </c:pt>
                <c:pt idx="56">
                  <c:v>44830</c:v>
                </c:pt>
              </c:numCache>
            </c:numRef>
          </c:cat>
          <c:val>
            <c:numRef>
              <c:f>Sheet1!$G$2:$G$58</c:f>
              <c:numCache>
                <c:formatCode>0</c:formatCode>
                <c:ptCount val="57"/>
                <c:pt idx="0">
                  <c:v>1362.8566989999999</c:v>
                </c:pt>
                <c:pt idx="1">
                  <c:v>1144.4088831250001</c:v>
                </c:pt>
                <c:pt idx="2">
                  <c:v>1037.7202445</c:v>
                </c:pt>
                <c:pt idx="3">
                  <c:v>1037.7202445</c:v>
                </c:pt>
                <c:pt idx="4">
                  <c:v>1037.7202445</c:v>
                </c:pt>
                <c:pt idx="5">
                  <c:v>1037.7202445</c:v>
                </c:pt>
                <c:pt idx="6">
                  <c:v>1489.7237342499998</c:v>
                </c:pt>
                <c:pt idx="7">
                  <c:v>1454.4084946666665</c:v>
                </c:pt>
                <c:pt idx="8">
                  <c:v>1758.1078512499998</c:v>
                </c:pt>
                <c:pt idx="9">
                  <c:v>1633</c:v>
                </c:pt>
                <c:pt idx="10">
                  <c:v>1633</c:v>
                </c:pt>
                <c:pt idx="11">
                  <c:v>1633</c:v>
                </c:pt>
                <c:pt idx="12">
                  <c:v>1633</c:v>
                </c:pt>
                <c:pt idx="13">
                  <c:v>1030</c:v>
                </c:pt>
                <c:pt idx="14">
                  <c:v>1030</c:v>
                </c:pt>
                <c:pt idx="15">
                  <c:v>1259.098982716635</c:v>
                </c:pt>
                <c:pt idx="16">
                  <c:v>1307.5268226148125</c:v>
                </c:pt>
                <c:pt idx="17">
                  <c:v>1307.5268226148125</c:v>
                </c:pt>
                <c:pt idx="18">
                  <c:v>1307.5268226148125</c:v>
                </c:pt>
                <c:pt idx="19">
                  <c:v>1307.5268226148125</c:v>
                </c:pt>
                <c:pt idx="20">
                  <c:v>1419.8157519148949</c:v>
                </c:pt>
                <c:pt idx="21">
                  <c:v>1558.4760055004936</c:v>
                </c:pt>
                <c:pt idx="22">
                  <c:v>1215</c:v>
                </c:pt>
                <c:pt idx="23">
                  <c:v>1056</c:v>
                </c:pt>
                <c:pt idx="24">
                  <c:v>1056</c:v>
                </c:pt>
                <c:pt idx="25">
                  <c:v>1056</c:v>
                </c:pt>
                <c:pt idx="26">
                  <c:v>1056</c:v>
                </c:pt>
                <c:pt idx="27">
                  <c:v>1022</c:v>
                </c:pt>
                <c:pt idx="28">
                  <c:v>1062</c:v>
                </c:pt>
                <c:pt idx="29">
                  <c:v>1031</c:v>
                </c:pt>
                <c:pt idx="30">
                  <c:v>1097</c:v>
                </c:pt>
                <c:pt idx="31">
                  <c:v>1334</c:v>
                </c:pt>
                <c:pt idx="32">
                  <c:v>1232.7227142798024</c:v>
                </c:pt>
                <c:pt idx="33">
                  <c:v>1232.7227142798024</c:v>
                </c:pt>
                <c:pt idx="34">
                  <c:v>1189.857589484463</c:v>
                </c:pt>
                <c:pt idx="35">
                  <c:v>1256.5404718126078</c:v>
                </c:pt>
                <c:pt idx="36">
                  <c:v>1170.2039484798802</c:v>
                </c:pt>
                <c:pt idx="37">
                  <c:v>1488.8969094628967</c:v>
                </c:pt>
                <c:pt idx="38">
                  <c:v>1288.3391010340606</c:v>
                </c:pt>
                <c:pt idx="39">
                  <c:v>1485.9787096936041</c:v>
                </c:pt>
                <c:pt idx="40">
                  <c:v>1485.9787096936041</c:v>
                </c:pt>
                <c:pt idx="41">
                  <c:v>1532.2111356564735</c:v>
                </c:pt>
                <c:pt idx="42">
                  <c:v>2064.7801259873136</c:v>
                </c:pt>
                <c:pt idx="43">
                  <c:v>2298.0591086816817</c:v>
                </c:pt>
                <c:pt idx="44">
                  <c:v>2243.6613194945353</c:v>
                </c:pt>
                <c:pt idx="45">
                  <c:v>2484.1921196873182</c:v>
                </c:pt>
                <c:pt idx="46">
                  <c:v>2650.9352060783203</c:v>
                </c:pt>
                <c:pt idx="47">
                  <c:v>2650.9352060783203</c:v>
                </c:pt>
                <c:pt idx="48">
                  <c:v>2570.3242994787229</c:v>
                </c:pt>
                <c:pt idx="49">
                  <c:v>1964.9213015890437</c:v>
                </c:pt>
                <c:pt idx="50">
                  <c:v>1874.9623571705868</c:v>
                </c:pt>
                <c:pt idx="51">
                  <c:v>1697.7922785661201</c:v>
                </c:pt>
                <c:pt idx="52">
                  <c:v>1697.7922785661201</c:v>
                </c:pt>
                <c:pt idx="53">
                  <c:v>1697.7922785661201</c:v>
                </c:pt>
                <c:pt idx="54">
                  <c:v>1697.7922785661201</c:v>
                </c:pt>
                <c:pt idx="55">
                  <c:v>1822.756569621275</c:v>
                </c:pt>
                <c:pt idx="56">
                  <c:v>1822.756569621275</c:v>
                </c:pt>
              </c:numCache>
            </c:numRef>
          </c:val>
          <c:smooth val="0"/>
          <c:extLst>
            <c:ext xmlns:c16="http://schemas.microsoft.com/office/drawing/2014/chart" uri="{C3380CC4-5D6E-409C-BE32-E72D297353CC}">
              <c16:uniqueId val="{00000001-33E6-4DF0-BC5E-8E0F6A8AF768}"/>
            </c:ext>
          </c:extLst>
        </c:ser>
        <c:ser>
          <c:idx val="6"/>
          <c:order val="6"/>
          <c:tx>
            <c:strRef>
              <c:f>Sheet1!$H$1</c:f>
              <c:strCache>
                <c:ptCount val="1"/>
                <c:pt idx="0">
                  <c:v>Uxbridge</c:v>
                </c:pt>
              </c:strCache>
            </c:strRef>
          </c:tx>
          <c:spPr>
            <a:ln w="19050" cap="rnd">
              <a:solidFill>
                <a:srgbClr val="002060"/>
              </a:solidFill>
              <a:round/>
            </a:ln>
            <a:effectLst/>
          </c:spPr>
          <c:marker>
            <c:symbol val="none"/>
          </c:marker>
          <c:cat>
            <c:numRef>
              <c:f>Sheet1!$A$2:$A$58</c:f>
              <c:numCache>
                <c:formatCode>m/d/yyyy</c:formatCode>
                <c:ptCount val="57"/>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c:v>44791</c:v>
                </c:pt>
                <c:pt idx="18">
                  <c:v>44792</c:v>
                </c:pt>
                <c:pt idx="19">
                  <c:v>44793</c:v>
                </c:pt>
                <c:pt idx="20">
                  <c:v>44794</c:v>
                </c:pt>
                <c:pt idx="21">
                  <c:v>44795</c:v>
                </c:pt>
                <c:pt idx="22">
                  <c:v>44796</c:v>
                </c:pt>
                <c:pt idx="23">
                  <c:v>44797</c:v>
                </c:pt>
                <c:pt idx="24">
                  <c:v>44798</c:v>
                </c:pt>
                <c:pt idx="25">
                  <c:v>44799</c:v>
                </c:pt>
                <c:pt idx="26">
                  <c:v>44800</c:v>
                </c:pt>
                <c:pt idx="27">
                  <c:v>44801</c:v>
                </c:pt>
                <c:pt idx="28">
                  <c:v>44802</c:v>
                </c:pt>
                <c:pt idx="29">
                  <c:v>44803</c:v>
                </c:pt>
                <c:pt idx="30">
                  <c:v>44804</c:v>
                </c:pt>
                <c:pt idx="31">
                  <c:v>44805</c:v>
                </c:pt>
                <c:pt idx="32">
                  <c:v>44806</c:v>
                </c:pt>
                <c:pt idx="33">
                  <c:v>44807</c:v>
                </c:pt>
                <c:pt idx="34">
                  <c:v>44808</c:v>
                </c:pt>
                <c:pt idx="35">
                  <c:v>44809</c:v>
                </c:pt>
                <c:pt idx="36">
                  <c:v>44810</c:v>
                </c:pt>
                <c:pt idx="37">
                  <c:v>44811</c:v>
                </c:pt>
                <c:pt idx="38">
                  <c:v>44812</c:v>
                </c:pt>
                <c:pt idx="39">
                  <c:v>44813</c:v>
                </c:pt>
                <c:pt idx="40">
                  <c:v>44814</c:v>
                </c:pt>
                <c:pt idx="41">
                  <c:v>44815</c:v>
                </c:pt>
                <c:pt idx="42">
                  <c:v>44816</c:v>
                </c:pt>
                <c:pt idx="43">
                  <c:v>44817</c:v>
                </c:pt>
                <c:pt idx="44">
                  <c:v>44818</c:v>
                </c:pt>
                <c:pt idx="45">
                  <c:v>44819</c:v>
                </c:pt>
                <c:pt idx="46">
                  <c:v>44820</c:v>
                </c:pt>
                <c:pt idx="47">
                  <c:v>44821</c:v>
                </c:pt>
                <c:pt idx="48">
                  <c:v>44822</c:v>
                </c:pt>
                <c:pt idx="49">
                  <c:v>44823</c:v>
                </c:pt>
                <c:pt idx="50">
                  <c:v>44824</c:v>
                </c:pt>
                <c:pt idx="51">
                  <c:v>44825</c:v>
                </c:pt>
                <c:pt idx="52">
                  <c:v>44826</c:v>
                </c:pt>
                <c:pt idx="53">
                  <c:v>44827</c:v>
                </c:pt>
                <c:pt idx="54">
                  <c:v>44828</c:v>
                </c:pt>
                <c:pt idx="55">
                  <c:v>44829</c:v>
                </c:pt>
                <c:pt idx="56">
                  <c:v>44830</c:v>
                </c:pt>
              </c:numCache>
            </c:numRef>
          </c:cat>
          <c:val>
            <c:numRef>
              <c:f>Sheet1!$H$2:$H$58</c:f>
              <c:numCache>
                <c:formatCode>0</c:formatCode>
                <c:ptCount val="57"/>
                <c:pt idx="0">
                  <c:v>850.49517759999992</c:v>
                </c:pt>
                <c:pt idx="1">
                  <c:v>850.49517759999992</c:v>
                </c:pt>
                <c:pt idx="2">
                  <c:v>639.1801802</c:v>
                </c:pt>
                <c:pt idx="3">
                  <c:v>703.45186560000002</c:v>
                </c:pt>
                <c:pt idx="4">
                  <c:v>703.45186560000002</c:v>
                </c:pt>
                <c:pt idx="5">
                  <c:v>703.45186560000002</c:v>
                </c:pt>
                <c:pt idx="6">
                  <c:v>703.45186560000002</c:v>
                </c:pt>
                <c:pt idx="7">
                  <c:v>607.82219884999995</c:v>
                </c:pt>
                <c:pt idx="8">
                  <c:v>567.42921056666671</c:v>
                </c:pt>
                <c:pt idx="9" formatCode="General">
                  <c:v>698</c:v>
                </c:pt>
                <c:pt idx="10" formatCode="General">
                  <c:v>994</c:v>
                </c:pt>
                <c:pt idx="11" formatCode="General">
                  <c:v>994</c:v>
                </c:pt>
                <c:pt idx="12" formatCode="General">
                  <c:v>994</c:v>
                </c:pt>
                <c:pt idx="13" formatCode="General">
                  <c:v>994</c:v>
                </c:pt>
                <c:pt idx="14" formatCode="General">
                  <c:v>865</c:v>
                </c:pt>
                <c:pt idx="15">
                  <c:v>991.588439916261</c:v>
                </c:pt>
                <c:pt idx="16">
                  <c:v>983.88030686972991</c:v>
                </c:pt>
                <c:pt idx="17">
                  <c:v>603.56914690664371</c:v>
                </c:pt>
                <c:pt idx="18">
                  <c:v>603.56914690664371</c:v>
                </c:pt>
                <c:pt idx="19">
                  <c:v>603.56914690664371</c:v>
                </c:pt>
                <c:pt idx="20">
                  <c:v>603.56914690664371</c:v>
                </c:pt>
                <c:pt idx="21">
                  <c:v>1030.7444150449367</c:v>
                </c:pt>
                <c:pt idx="22" formatCode="General">
                  <c:v>1031</c:v>
                </c:pt>
                <c:pt idx="23" formatCode="General">
                  <c:v>1268</c:v>
                </c:pt>
                <c:pt idx="24" formatCode="General">
                  <c:v>1554</c:v>
                </c:pt>
                <c:pt idx="25" formatCode="General">
                  <c:v>1554</c:v>
                </c:pt>
                <c:pt idx="26" formatCode="General">
                  <c:v>1554</c:v>
                </c:pt>
                <c:pt idx="27" formatCode="General">
                  <c:v>1554</c:v>
                </c:pt>
                <c:pt idx="28" formatCode="General">
                  <c:v>1433</c:v>
                </c:pt>
                <c:pt idx="29" formatCode="General">
                  <c:v>1433</c:v>
                </c:pt>
                <c:pt idx="30" formatCode="General">
                  <c:v>1908</c:v>
                </c:pt>
                <c:pt idx="31" formatCode="General">
                  <c:v>2112</c:v>
                </c:pt>
                <c:pt idx="32">
                  <c:v>1963.6437206029425</c:v>
                </c:pt>
                <c:pt idx="33">
                  <c:v>1963.6437206029425</c:v>
                </c:pt>
                <c:pt idx="34">
                  <c:v>1963.6437206029425</c:v>
                </c:pt>
                <c:pt idx="35">
                  <c:v>1757.5065011331546</c:v>
                </c:pt>
                <c:pt idx="36">
                  <c:v>1813.4667702912379</c:v>
                </c:pt>
                <c:pt idx="37">
                  <c:v>1557.5743166632035</c:v>
                </c:pt>
                <c:pt idx="38">
                  <c:v>1556.5952849875496</c:v>
                </c:pt>
                <c:pt idx="39">
                  <c:v>1515.5074139065475</c:v>
                </c:pt>
                <c:pt idx="40">
                  <c:v>1343.7641964284801</c:v>
                </c:pt>
                <c:pt idx="41">
                  <c:v>1343.7641964284801</c:v>
                </c:pt>
                <c:pt idx="42">
                  <c:v>1397.0715794265627</c:v>
                </c:pt>
                <c:pt idx="43">
                  <c:v>1269.0243259271613</c:v>
                </c:pt>
                <c:pt idx="44">
                  <c:v>1315.0847783682175</c:v>
                </c:pt>
                <c:pt idx="45">
                  <c:v>1309.5219500985736</c:v>
                </c:pt>
                <c:pt idx="46">
                  <c:v>1308.4729895271894</c:v>
                </c:pt>
                <c:pt idx="47">
                  <c:v>1582.9479496902043</c:v>
                </c:pt>
                <c:pt idx="48">
                  <c:v>1582.9479496902043</c:v>
                </c:pt>
                <c:pt idx="49">
                  <c:v>1941.08294212338</c:v>
                </c:pt>
                <c:pt idx="50">
                  <c:v>1941.08294212338</c:v>
                </c:pt>
                <c:pt idx="51">
                  <c:v>1934.0296414716431</c:v>
                </c:pt>
                <c:pt idx="52">
                  <c:v>1895.5009317333099</c:v>
                </c:pt>
                <c:pt idx="53">
                  <c:v>1895.5009317333099</c:v>
                </c:pt>
                <c:pt idx="54">
                  <c:v>1895.5009317333099</c:v>
                </c:pt>
                <c:pt idx="55">
                  <c:v>1895.5009317333099</c:v>
                </c:pt>
                <c:pt idx="56">
                  <c:v>1190.231783397905</c:v>
                </c:pt>
              </c:numCache>
            </c:numRef>
          </c:val>
          <c:smooth val="0"/>
          <c:extLst>
            <c:ext xmlns:c16="http://schemas.microsoft.com/office/drawing/2014/chart" uri="{C3380CC4-5D6E-409C-BE32-E72D297353CC}">
              <c16:uniqueId val="{00000001-4023-4F4C-B343-1A29B07EE574}"/>
            </c:ext>
          </c:extLst>
        </c:ser>
        <c:dLbls>
          <c:showLegendKey val="0"/>
          <c:showVal val="0"/>
          <c:showCatName val="0"/>
          <c:showSerName val="0"/>
          <c:showPercent val="0"/>
          <c:showBubbleSize val="0"/>
        </c:dLbls>
        <c:smooth val="0"/>
        <c:axId val="494445784"/>
        <c:axId val="494447424"/>
      </c:lineChart>
      <c:dateAx>
        <c:axId val="494445784"/>
        <c:scaling>
          <c:orientation val="minMax"/>
          <c:min val="44793"/>
        </c:scaling>
        <c:delete val="0"/>
        <c:axPos val="b"/>
        <c:majorGridlines>
          <c:spPr>
            <a:ln w="19050" cap="flat" cmpd="sng" algn="ctr">
              <a:solidFill>
                <a:schemeClr val="tx1">
                  <a:lumMod val="15000"/>
                  <a:lumOff val="85000"/>
                </a:schemeClr>
              </a:solidFill>
              <a:round/>
            </a:ln>
            <a:effectLst/>
          </c:spPr>
        </c:majorGridlines>
        <c:numFmt formatCode="m/d;@" sourceLinked="0"/>
        <c:majorTickMark val="out"/>
        <c:minorTickMark val="none"/>
        <c:tickLblPos val="low"/>
        <c:spPr>
          <a:solidFill>
            <a:schemeClr val="bg1"/>
          </a:solid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494447424"/>
        <c:crosses val="autoZero"/>
        <c:auto val="1"/>
        <c:lblOffset val="100"/>
        <c:baseTimeUnit val="days"/>
        <c:majorUnit val="4"/>
        <c:majorTimeUnit val="days"/>
      </c:dateAx>
      <c:valAx>
        <c:axId val="494447424"/>
        <c:scaling>
          <c:orientation val="minMax"/>
          <c:max val="65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Calibri" panose="020F0502020204030204" pitchFamily="34" charset="0"/>
              </a:defRPr>
            </a:pPr>
            <a:endParaRPr lang="en-US"/>
          </a:p>
        </c:txPr>
        <c:crossAx val="494445784"/>
        <c:crossesAt val="44593"/>
        <c:crossBetween val="midCat"/>
        <c:majorUnit val="1000"/>
        <c:minorUnit val="2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67544987546285"/>
          <c:y val="5.3722991306486702E-2"/>
          <c:w val="0.81931293288947693"/>
          <c:h val="0.86652220107470168"/>
        </c:manualLayout>
      </c:layout>
      <c:lineChart>
        <c:grouping val="standard"/>
        <c:varyColors val="0"/>
        <c:ser>
          <c:idx val="0"/>
          <c:order val="0"/>
          <c:tx>
            <c:strRef>
              <c:f>Sheet1!$B$1</c:f>
              <c:strCache>
                <c:ptCount val="1"/>
                <c:pt idx="0">
                  <c:v>Amherst</c:v>
                </c:pt>
              </c:strCache>
            </c:strRef>
          </c:tx>
          <c:spPr>
            <a:ln w="19050" cap="rnd">
              <a:solidFill>
                <a:schemeClr val="accent1"/>
              </a:solidFill>
              <a:round/>
            </a:ln>
            <a:effectLst/>
          </c:spPr>
          <c:marker>
            <c:symbol val="none"/>
          </c:marker>
          <c:cat>
            <c:numRef>
              <c:f>Sheet1!$A$2:$A$58</c:f>
              <c:numCache>
                <c:formatCode>m/d/yyyy</c:formatCode>
                <c:ptCount val="57"/>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c:v>44791</c:v>
                </c:pt>
                <c:pt idx="18">
                  <c:v>44792</c:v>
                </c:pt>
                <c:pt idx="19">
                  <c:v>44793</c:v>
                </c:pt>
                <c:pt idx="20">
                  <c:v>44794</c:v>
                </c:pt>
                <c:pt idx="21">
                  <c:v>44795</c:v>
                </c:pt>
                <c:pt idx="22">
                  <c:v>44796</c:v>
                </c:pt>
                <c:pt idx="23">
                  <c:v>44797</c:v>
                </c:pt>
                <c:pt idx="24">
                  <c:v>44798</c:v>
                </c:pt>
                <c:pt idx="25">
                  <c:v>44799</c:v>
                </c:pt>
                <c:pt idx="26">
                  <c:v>44800</c:v>
                </c:pt>
                <c:pt idx="27">
                  <c:v>44801</c:v>
                </c:pt>
                <c:pt idx="28">
                  <c:v>44802</c:v>
                </c:pt>
                <c:pt idx="29">
                  <c:v>44803</c:v>
                </c:pt>
                <c:pt idx="30">
                  <c:v>44804</c:v>
                </c:pt>
                <c:pt idx="31">
                  <c:v>44805</c:v>
                </c:pt>
                <c:pt idx="32">
                  <c:v>44806</c:v>
                </c:pt>
                <c:pt idx="33">
                  <c:v>44807</c:v>
                </c:pt>
                <c:pt idx="34">
                  <c:v>44808</c:v>
                </c:pt>
                <c:pt idx="35">
                  <c:v>44809</c:v>
                </c:pt>
                <c:pt idx="36">
                  <c:v>44810</c:v>
                </c:pt>
                <c:pt idx="37">
                  <c:v>44811</c:v>
                </c:pt>
                <c:pt idx="38">
                  <c:v>44812</c:v>
                </c:pt>
                <c:pt idx="39">
                  <c:v>44813</c:v>
                </c:pt>
                <c:pt idx="40">
                  <c:v>44814</c:v>
                </c:pt>
                <c:pt idx="41">
                  <c:v>44815</c:v>
                </c:pt>
                <c:pt idx="42">
                  <c:v>44816</c:v>
                </c:pt>
                <c:pt idx="43">
                  <c:v>44817</c:v>
                </c:pt>
                <c:pt idx="44">
                  <c:v>44818</c:v>
                </c:pt>
                <c:pt idx="45">
                  <c:v>44819</c:v>
                </c:pt>
                <c:pt idx="46">
                  <c:v>44820</c:v>
                </c:pt>
                <c:pt idx="47">
                  <c:v>44821</c:v>
                </c:pt>
                <c:pt idx="48">
                  <c:v>44822</c:v>
                </c:pt>
                <c:pt idx="49">
                  <c:v>44823</c:v>
                </c:pt>
                <c:pt idx="50">
                  <c:v>44824</c:v>
                </c:pt>
                <c:pt idx="51">
                  <c:v>44825</c:v>
                </c:pt>
                <c:pt idx="52">
                  <c:v>44826</c:v>
                </c:pt>
                <c:pt idx="53">
                  <c:v>44827</c:v>
                </c:pt>
                <c:pt idx="54">
                  <c:v>44828</c:v>
                </c:pt>
                <c:pt idx="55">
                  <c:v>44829</c:v>
                </c:pt>
                <c:pt idx="56">
                  <c:v>44830</c:v>
                </c:pt>
              </c:numCache>
            </c:numRef>
          </c:cat>
          <c:val>
            <c:numRef>
              <c:f>Sheet1!$B$2:$B$58</c:f>
              <c:numCache>
                <c:formatCode>0</c:formatCode>
                <c:ptCount val="57"/>
                <c:pt idx="0">
                  <c:v>1201.918090225</c:v>
                </c:pt>
                <c:pt idx="1">
                  <c:v>842.28987444999996</c:v>
                </c:pt>
                <c:pt idx="2">
                  <c:v>593.65431212499993</c:v>
                </c:pt>
                <c:pt idx="3">
                  <c:v>520.248864325</c:v>
                </c:pt>
                <c:pt idx="4">
                  <c:v>520.248864325</c:v>
                </c:pt>
                <c:pt idx="5">
                  <c:v>520.248864325</c:v>
                </c:pt>
                <c:pt idx="6">
                  <c:v>520.248864325</c:v>
                </c:pt>
                <c:pt idx="7">
                  <c:v>520</c:v>
                </c:pt>
                <c:pt idx="8">
                  <c:v>544</c:v>
                </c:pt>
                <c:pt idx="9">
                  <c:v>674</c:v>
                </c:pt>
                <c:pt idx="10">
                  <c:v>740</c:v>
                </c:pt>
                <c:pt idx="11">
                  <c:v>731</c:v>
                </c:pt>
                <c:pt idx="12">
                  <c:v>731</c:v>
                </c:pt>
                <c:pt idx="13">
                  <c:v>731</c:v>
                </c:pt>
                <c:pt idx="14">
                  <c:v>731</c:v>
                </c:pt>
                <c:pt idx="15">
                  <c:v>731.30543855954568</c:v>
                </c:pt>
                <c:pt idx="16">
                  <c:v>773.43243091300246</c:v>
                </c:pt>
                <c:pt idx="17">
                  <c:v>943.62789785161806</c:v>
                </c:pt>
                <c:pt idx="18">
                  <c:v>1163.0023506694733</c:v>
                </c:pt>
                <c:pt idx="19">
                  <c:v>1163.0023506694733</c:v>
                </c:pt>
                <c:pt idx="20">
                  <c:v>1163.0023506694733</c:v>
                </c:pt>
                <c:pt idx="21">
                  <c:v>1163.0023506694733</c:v>
                </c:pt>
                <c:pt idx="22">
                  <c:v>1043</c:v>
                </c:pt>
                <c:pt idx="23">
                  <c:v>965</c:v>
                </c:pt>
                <c:pt idx="24">
                  <c:v>757</c:v>
                </c:pt>
                <c:pt idx="25">
                  <c:v>546</c:v>
                </c:pt>
                <c:pt idx="26">
                  <c:v>546</c:v>
                </c:pt>
                <c:pt idx="27">
                  <c:v>546</c:v>
                </c:pt>
                <c:pt idx="28">
                  <c:v>546</c:v>
                </c:pt>
                <c:pt idx="29">
                  <c:v>481</c:v>
                </c:pt>
                <c:pt idx="30">
                  <c:v>394</c:v>
                </c:pt>
                <c:pt idx="31">
                  <c:v>488</c:v>
                </c:pt>
                <c:pt idx="32">
                  <c:v>744</c:v>
                </c:pt>
                <c:pt idx="33">
                  <c:v>744.37629936279302</c:v>
                </c:pt>
                <c:pt idx="34">
                  <c:v>725.74846103235041</c:v>
                </c:pt>
                <c:pt idx="35">
                  <c:v>725.74846103235041</c:v>
                </c:pt>
                <c:pt idx="36">
                  <c:v>800.34101380557627</c:v>
                </c:pt>
                <c:pt idx="37">
                  <c:v>933.97949717998142</c:v>
                </c:pt>
                <c:pt idx="38">
                  <c:v>1127.869877279501</c:v>
                </c:pt>
                <c:pt idx="39">
                  <c:v>1251.9676956793708</c:v>
                </c:pt>
                <c:pt idx="40">
                  <c:v>1168.65422026837</c:v>
                </c:pt>
                <c:pt idx="41">
                  <c:v>1394.7253621945783</c:v>
                </c:pt>
                <c:pt idx="42">
                  <c:v>1394.7253621945783</c:v>
                </c:pt>
                <c:pt idx="43">
                  <c:v>1772.4496627933477</c:v>
                </c:pt>
                <c:pt idx="44">
                  <c:v>2309.042823631276</c:v>
                </c:pt>
                <c:pt idx="45">
                  <c:v>2967.8600980206193</c:v>
                </c:pt>
                <c:pt idx="46">
                  <c:v>3167.1067477365614</c:v>
                </c:pt>
                <c:pt idx="47">
                  <c:v>3770.8617238673596</c:v>
                </c:pt>
                <c:pt idx="48">
                  <c:v>4358.5943120672027</c:v>
                </c:pt>
                <c:pt idx="49">
                  <c:v>4358.5943120672027</c:v>
                </c:pt>
                <c:pt idx="50">
                  <c:v>4202.8396391545002</c:v>
                </c:pt>
                <c:pt idx="51">
                  <c:v>4126.6416098773107</c:v>
                </c:pt>
                <c:pt idx="52">
                  <c:v>2578.9730848529598</c:v>
                </c:pt>
                <c:pt idx="53">
                  <c:v>2578.9730848529598</c:v>
                </c:pt>
                <c:pt idx="54">
                  <c:v>2261.29960451941</c:v>
                </c:pt>
                <c:pt idx="55">
                  <c:v>2261.29960451941</c:v>
                </c:pt>
                <c:pt idx="56">
                  <c:v>2261.29960451941</c:v>
                </c:pt>
              </c:numCache>
            </c:numRef>
          </c:val>
          <c:smooth val="1"/>
          <c:extLst>
            <c:ext xmlns:c16="http://schemas.microsoft.com/office/drawing/2014/chart" uri="{C3380CC4-5D6E-409C-BE32-E72D297353CC}">
              <c16:uniqueId val="{00000000-2521-4704-8001-83623E5F1097}"/>
            </c:ext>
          </c:extLst>
        </c:ser>
        <c:ser>
          <c:idx val="1"/>
          <c:order val="1"/>
          <c:tx>
            <c:strRef>
              <c:f>Sheet1!$C$1</c:f>
              <c:strCache>
                <c:ptCount val="1"/>
                <c:pt idx="0">
                  <c:v>Chicopee</c:v>
                </c:pt>
              </c:strCache>
            </c:strRef>
          </c:tx>
          <c:spPr>
            <a:ln w="19050" cap="rnd">
              <a:solidFill>
                <a:schemeClr val="accent2"/>
              </a:solidFill>
              <a:round/>
            </a:ln>
            <a:effectLst/>
          </c:spPr>
          <c:marker>
            <c:symbol val="none"/>
          </c:marker>
          <c:cat>
            <c:numRef>
              <c:f>Sheet1!$A$2:$A$58</c:f>
              <c:numCache>
                <c:formatCode>m/d/yyyy</c:formatCode>
                <c:ptCount val="57"/>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c:v>44791</c:v>
                </c:pt>
                <c:pt idx="18">
                  <c:v>44792</c:v>
                </c:pt>
                <c:pt idx="19">
                  <c:v>44793</c:v>
                </c:pt>
                <c:pt idx="20">
                  <c:v>44794</c:v>
                </c:pt>
                <c:pt idx="21">
                  <c:v>44795</c:v>
                </c:pt>
                <c:pt idx="22">
                  <c:v>44796</c:v>
                </c:pt>
                <c:pt idx="23">
                  <c:v>44797</c:v>
                </c:pt>
                <c:pt idx="24">
                  <c:v>44798</c:v>
                </c:pt>
                <c:pt idx="25">
                  <c:v>44799</c:v>
                </c:pt>
                <c:pt idx="26">
                  <c:v>44800</c:v>
                </c:pt>
                <c:pt idx="27">
                  <c:v>44801</c:v>
                </c:pt>
                <c:pt idx="28">
                  <c:v>44802</c:v>
                </c:pt>
                <c:pt idx="29">
                  <c:v>44803</c:v>
                </c:pt>
                <c:pt idx="30">
                  <c:v>44804</c:v>
                </c:pt>
                <c:pt idx="31">
                  <c:v>44805</c:v>
                </c:pt>
                <c:pt idx="32">
                  <c:v>44806</c:v>
                </c:pt>
                <c:pt idx="33">
                  <c:v>44807</c:v>
                </c:pt>
                <c:pt idx="34">
                  <c:v>44808</c:v>
                </c:pt>
                <c:pt idx="35">
                  <c:v>44809</c:v>
                </c:pt>
                <c:pt idx="36">
                  <c:v>44810</c:v>
                </c:pt>
                <c:pt idx="37">
                  <c:v>44811</c:v>
                </c:pt>
                <c:pt idx="38">
                  <c:v>44812</c:v>
                </c:pt>
                <c:pt idx="39">
                  <c:v>44813</c:v>
                </c:pt>
                <c:pt idx="40">
                  <c:v>44814</c:v>
                </c:pt>
                <c:pt idx="41">
                  <c:v>44815</c:v>
                </c:pt>
                <c:pt idx="42">
                  <c:v>44816</c:v>
                </c:pt>
                <c:pt idx="43">
                  <c:v>44817</c:v>
                </c:pt>
                <c:pt idx="44">
                  <c:v>44818</c:v>
                </c:pt>
                <c:pt idx="45">
                  <c:v>44819</c:v>
                </c:pt>
                <c:pt idx="46">
                  <c:v>44820</c:v>
                </c:pt>
                <c:pt idx="47">
                  <c:v>44821</c:v>
                </c:pt>
                <c:pt idx="48">
                  <c:v>44822</c:v>
                </c:pt>
                <c:pt idx="49">
                  <c:v>44823</c:v>
                </c:pt>
                <c:pt idx="50">
                  <c:v>44824</c:v>
                </c:pt>
                <c:pt idx="51">
                  <c:v>44825</c:v>
                </c:pt>
                <c:pt idx="52">
                  <c:v>44826</c:v>
                </c:pt>
                <c:pt idx="53">
                  <c:v>44827</c:v>
                </c:pt>
                <c:pt idx="54">
                  <c:v>44828</c:v>
                </c:pt>
                <c:pt idx="55">
                  <c:v>44829</c:v>
                </c:pt>
                <c:pt idx="56">
                  <c:v>44830</c:v>
                </c:pt>
              </c:numCache>
            </c:numRef>
          </c:cat>
          <c:val>
            <c:numRef>
              <c:f>Sheet1!$C$2:$C$58</c:f>
              <c:numCache>
                <c:formatCode>General</c:formatCode>
                <c:ptCount val="57"/>
                <c:pt idx="0">
                  <c:v>1499.5</c:v>
                </c:pt>
                <c:pt idx="1">
                  <c:v>1500</c:v>
                </c:pt>
                <c:pt idx="2">
                  <c:v>1551</c:v>
                </c:pt>
                <c:pt idx="3">
                  <c:v>1551</c:v>
                </c:pt>
                <c:pt idx="4">
                  <c:v>1551</c:v>
                </c:pt>
                <c:pt idx="5">
                  <c:v>1551</c:v>
                </c:pt>
                <c:pt idx="6">
                  <c:v>1551</c:v>
                </c:pt>
                <c:pt idx="7">
                  <c:v>757</c:v>
                </c:pt>
                <c:pt idx="8">
                  <c:v>757</c:v>
                </c:pt>
                <c:pt idx="9">
                  <c:v>883</c:v>
                </c:pt>
                <c:pt idx="10">
                  <c:v>883</c:v>
                </c:pt>
                <c:pt idx="11">
                  <c:v>883</c:v>
                </c:pt>
                <c:pt idx="12">
                  <c:v>883</c:v>
                </c:pt>
                <c:pt idx="13">
                  <c:v>883</c:v>
                </c:pt>
                <c:pt idx="14">
                  <c:v>1031</c:v>
                </c:pt>
                <c:pt idx="15" formatCode="0">
                  <c:v>1031.0352900643682</c:v>
                </c:pt>
                <c:pt idx="16" formatCode="0">
                  <c:v>1274.0634172095902</c:v>
                </c:pt>
                <c:pt idx="17" formatCode="0">
                  <c:v>1274.0634172095902</c:v>
                </c:pt>
                <c:pt idx="18" formatCode="0">
                  <c:v>1274.0634172095902</c:v>
                </c:pt>
                <c:pt idx="19" formatCode="0">
                  <c:v>1274.0634172095902</c:v>
                </c:pt>
                <c:pt idx="20" formatCode="0">
                  <c:v>1274.0634172095902</c:v>
                </c:pt>
                <c:pt idx="21" formatCode="0">
                  <c:v>681.96791396639401</c:v>
                </c:pt>
                <c:pt idx="22">
                  <c:v>682</c:v>
                </c:pt>
                <c:pt idx="23">
                  <c:v>447</c:v>
                </c:pt>
                <c:pt idx="24">
                  <c:v>447</c:v>
                </c:pt>
                <c:pt idx="25">
                  <c:v>447</c:v>
                </c:pt>
                <c:pt idx="26">
                  <c:v>447</c:v>
                </c:pt>
                <c:pt idx="27">
                  <c:v>447</c:v>
                </c:pt>
                <c:pt idx="28">
                  <c:v>278</c:v>
                </c:pt>
                <c:pt idx="29">
                  <c:v>278</c:v>
                </c:pt>
                <c:pt idx="30">
                  <c:v>467</c:v>
                </c:pt>
                <c:pt idx="31">
                  <c:v>467</c:v>
                </c:pt>
                <c:pt idx="32">
                  <c:v>467</c:v>
                </c:pt>
                <c:pt idx="33">
                  <c:v>467</c:v>
                </c:pt>
                <c:pt idx="34">
                  <c:v>467</c:v>
                </c:pt>
                <c:pt idx="35">
                  <c:v>590</c:v>
                </c:pt>
                <c:pt idx="36">
                  <c:v>1290</c:v>
                </c:pt>
                <c:pt idx="37">
                  <c:v>1244</c:v>
                </c:pt>
                <c:pt idx="38">
                  <c:v>1244</c:v>
                </c:pt>
                <c:pt idx="39">
                  <c:v>1244</c:v>
                </c:pt>
                <c:pt idx="40">
                  <c:v>1244</c:v>
                </c:pt>
                <c:pt idx="41">
                  <c:v>1244</c:v>
                </c:pt>
                <c:pt idx="42">
                  <c:v>955</c:v>
                </c:pt>
                <c:pt idx="43">
                  <c:v>438</c:v>
                </c:pt>
                <c:pt idx="44">
                  <c:v>692</c:v>
                </c:pt>
                <c:pt idx="49" formatCode="0">
                  <c:v>1007.4662620904199</c:v>
                </c:pt>
                <c:pt idx="50" formatCode="0">
                  <c:v>1007.4662620904199</c:v>
                </c:pt>
              </c:numCache>
            </c:numRef>
          </c:val>
          <c:smooth val="1"/>
          <c:extLst>
            <c:ext xmlns:c16="http://schemas.microsoft.com/office/drawing/2014/chart" uri="{C3380CC4-5D6E-409C-BE32-E72D297353CC}">
              <c16:uniqueId val="{00000001-2521-4704-8001-83623E5F1097}"/>
            </c:ext>
          </c:extLst>
        </c:ser>
        <c:ser>
          <c:idx val="2"/>
          <c:order val="2"/>
          <c:tx>
            <c:strRef>
              <c:f>Sheet1!$D$1</c:f>
              <c:strCache>
                <c:ptCount val="1"/>
                <c:pt idx="0">
                  <c:v>Greenfield</c:v>
                </c:pt>
              </c:strCache>
            </c:strRef>
          </c:tx>
          <c:spPr>
            <a:ln w="19050" cap="rnd">
              <a:solidFill>
                <a:srgbClr val="00B050"/>
              </a:solidFill>
              <a:round/>
            </a:ln>
            <a:effectLst/>
          </c:spPr>
          <c:marker>
            <c:symbol val="none"/>
          </c:marker>
          <c:cat>
            <c:numRef>
              <c:f>Sheet1!$A$2:$A$58</c:f>
              <c:numCache>
                <c:formatCode>m/d/yyyy</c:formatCode>
                <c:ptCount val="57"/>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c:v>44791</c:v>
                </c:pt>
                <c:pt idx="18">
                  <c:v>44792</c:v>
                </c:pt>
                <c:pt idx="19">
                  <c:v>44793</c:v>
                </c:pt>
                <c:pt idx="20">
                  <c:v>44794</c:v>
                </c:pt>
                <c:pt idx="21">
                  <c:v>44795</c:v>
                </c:pt>
                <c:pt idx="22">
                  <c:v>44796</c:v>
                </c:pt>
                <c:pt idx="23">
                  <c:v>44797</c:v>
                </c:pt>
                <c:pt idx="24">
                  <c:v>44798</c:v>
                </c:pt>
                <c:pt idx="25">
                  <c:v>44799</c:v>
                </c:pt>
                <c:pt idx="26">
                  <c:v>44800</c:v>
                </c:pt>
                <c:pt idx="27">
                  <c:v>44801</c:v>
                </c:pt>
                <c:pt idx="28">
                  <c:v>44802</c:v>
                </c:pt>
                <c:pt idx="29">
                  <c:v>44803</c:v>
                </c:pt>
                <c:pt idx="30">
                  <c:v>44804</c:v>
                </c:pt>
                <c:pt idx="31">
                  <c:v>44805</c:v>
                </c:pt>
                <c:pt idx="32">
                  <c:v>44806</c:v>
                </c:pt>
                <c:pt idx="33">
                  <c:v>44807</c:v>
                </c:pt>
                <c:pt idx="34">
                  <c:v>44808</c:v>
                </c:pt>
                <c:pt idx="35">
                  <c:v>44809</c:v>
                </c:pt>
                <c:pt idx="36">
                  <c:v>44810</c:v>
                </c:pt>
                <c:pt idx="37">
                  <c:v>44811</c:v>
                </c:pt>
                <c:pt idx="38">
                  <c:v>44812</c:v>
                </c:pt>
                <c:pt idx="39">
                  <c:v>44813</c:v>
                </c:pt>
                <c:pt idx="40">
                  <c:v>44814</c:v>
                </c:pt>
                <c:pt idx="41">
                  <c:v>44815</c:v>
                </c:pt>
                <c:pt idx="42">
                  <c:v>44816</c:v>
                </c:pt>
                <c:pt idx="43">
                  <c:v>44817</c:v>
                </c:pt>
                <c:pt idx="44">
                  <c:v>44818</c:v>
                </c:pt>
                <c:pt idx="45">
                  <c:v>44819</c:v>
                </c:pt>
                <c:pt idx="46">
                  <c:v>44820</c:v>
                </c:pt>
                <c:pt idx="47">
                  <c:v>44821</c:v>
                </c:pt>
                <c:pt idx="48">
                  <c:v>44822</c:v>
                </c:pt>
                <c:pt idx="49">
                  <c:v>44823</c:v>
                </c:pt>
                <c:pt idx="50">
                  <c:v>44824</c:v>
                </c:pt>
                <c:pt idx="51">
                  <c:v>44825</c:v>
                </c:pt>
                <c:pt idx="52">
                  <c:v>44826</c:v>
                </c:pt>
                <c:pt idx="53">
                  <c:v>44827</c:v>
                </c:pt>
                <c:pt idx="54">
                  <c:v>44828</c:v>
                </c:pt>
                <c:pt idx="55">
                  <c:v>44829</c:v>
                </c:pt>
                <c:pt idx="56">
                  <c:v>44830</c:v>
                </c:pt>
              </c:numCache>
            </c:numRef>
          </c:cat>
          <c:val>
            <c:numRef>
              <c:f>Sheet1!$D$2:$D$58</c:f>
              <c:numCache>
                <c:formatCode>0</c:formatCode>
                <c:ptCount val="57"/>
                <c:pt idx="0">
                  <c:v>431.18281094999998</c:v>
                </c:pt>
                <c:pt idx="1">
                  <c:v>472.68114455</c:v>
                </c:pt>
                <c:pt idx="2">
                  <c:v>472.68114455</c:v>
                </c:pt>
                <c:pt idx="3">
                  <c:v>639.59533284999998</c:v>
                </c:pt>
                <c:pt idx="4">
                  <c:v>639.59533284999998</c:v>
                </c:pt>
                <c:pt idx="5">
                  <c:v>639.59533284999998</c:v>
                </c:pt>
                <c:pt idx="6">
                  <c:v>639.59533284999998</c:v>
                </c:pt>
                <c:pt idx="7">
                  <c:v>639.59533284999998</c:v>
                </c:pt>
                <c:pt idx="8" formatCode="General">
                  <c:v>640</c:v>
                </c:pt>
                <c:pt idx="9" formatCode="General">
                  <c:v>724</c:v>
                </c:pt>
                <c:pt idx="10" formatCode="General">
                  <c:v>594</c:v>
                </c:pt>
                <c:pt idx="11" formatCode="General">
                  <c:v>492</c:v>
                </c:pt>
                <c:pt idx="12" formatCode="General">
                  <c:v>492</c:v>
                </c:pt>
                <c:pt idx="13" formatCode="General">
                  <c:v>492</c:v>
                </c:pt>
                <c:pt idx="14" formatCode="General">
                  <c:v>492</c:v>
                </c:pt>
                <c:pt idx="15">
                  <c:v>492.27518663926099</c:v>
                </c:pt>
                <c:pt idx="16">
                  <c:v>874.103698091924</c:v>
                </c:pt>
                <c:pt idx="17">
                  <c:v>1079.1118848086071</c:v>
                </c:pt>
                <c:pt idx="18">
                  <c:v>1964.0648620614952</c:v>
                </c:pt>
                <c:pt idx="19">
                  <c:v>1964.0648620614952</c:v>
                </c:pt>
                <c:pt idx="20">
                  <c:v>1964.0648620614952</c:v>
                </c:pt>
                <c:pt idx="21">
                  <c:v>1964.0648620614952</c:v>
                </c:pt>
                <c:pt idx="22" formatCode="General">
                  <c:v>1964</c:v>
                </c:pt>
                <c:pt idx="23" formatCode="General">
                  <c:v>2290</c:v>
                </c:pt>
                <c:pt idx="24" formatCode="General">
                  <c:v>2290</c:v>
                </c:pt>
                <c:pt idx="25" formatCode="General">
                  <c:v>494</c:v>
                </c:pt>
                <c:pt idx="26" formatCode="General">
                  <c:v>494</c:v>
                </c:pt>
                <c:pt idx="27" formatCode="General">
                  <c:v>494</c:v>
                </c:pt>
                <c:pt idx="28">
                  <c:v>493.89599999999996</c:v>
                </c:pt>
                <c:pt idx="29">
                  <c:v>493.89599999999996</c:v>
                </c:pt>
                <c:pt idx="30">
                  <c:v>525.82950000000005</c:v>
                </c:pt>
                <c:pt idx="31">
                  <c:v>568.79731255519937</c:v>
                </c:pt>
                <c:pt idx="32">
                  <c:v>645.80088949706362</c:v>
                </c:pt>
                <c:pt idx="33">
                  <c:v>660.89879989243548</c:v>
                </c:pt>
                <c:pt idx="34">
                  <c:v>660.89879989243548</c:v>
                </c:pt>
                <c:pt idx="35">
                  <c:v>660.89879989243548</c:v>
                </c:pt>
                <c:pt idx="36">
                  <c:v>704.09632720023853</c:v>
                </c:pt>
                <c:pt idx="37">
                  <c:v>776.7338010039357</c:v>
                </c:pt>
                <c:pt idx="38">
                  <c:v>807.23401683852012</c:v>
                </c:pt>
                <c:pt idx="39">
                  <c:v>1136.6817777129118</c:v>
                </c:pt>
                <c:pt idx="40">
                  <c:v>1280.1781932576989</c:v>
                </c:pt>
                <c:pt idx="41">
                  <c:v>1280.1781932576989</c:v>
                </c:pt>
                <c:pt idx="42">
                  <c:v>1280.1781932576989</c:v>
                </c:pt>
                <c:pt idx="43">
                  <c:v>1481.8240716708228</c:v>
                </c:pt>
                <c:pt idx="44">
                  <c:v>2146.8127743231598</c:v>
                </c:pt>
                <c:pt idx="45">
                  <c:v>2146.8127743231598</c:v>
                </c:pt>
                <c:pt idx="46">
                  <c:v>1428.2010241396899</c:v>
                </c:pt>
                <c:pt idx="47">
                  <c:v>1428.2010241396899</c:v>
                </c:pt>
                <c:pt idx="48">
                  <c:v>1428.2010241396899</c:v>
                </c:pt>
                <c:pt idx="49">
                  <c:v>1428.2010241396899</c:v>
                </c:pt>
                <c:pt idx="50">
                  <c:v>1428.2010241396899</c:v>
                </c:pt>
                <c:pt idx="51">
                  <c:v>1428.2010241396899</c:v>
                </c:pt>
                <c:pt idx="52">
                  <c:v>1428.2010241396899</c:v>
                </c:pt>
              </c:numCache>
            </c:numRef>
          </c:val>
          <c:smooth val="1"/>
          <c:extLst>
            <c:ext xmlns:c16="http://schemas.microsoft.com/office/drawing/2014/chart" uri="{C3380CC4-5D6E-409C-BE32-E72D297353CC}">
              <c16:uniqueId val="{00000002-2521-4704-8001-83623E5F1097}"/>
            </c:ext>
          </c:extLst>
        </c:ser>
        <c:ser>
          <c:idx val="3"/>
          <c:order val="3"/>
          <c:tx>
            <c:strRef>
              <c:f>Sheet1!$E$1</c:f>
              <c:strCache>
                <c:ptCount val="1"/>
                <c:pt idx="0">
                  <c:v>Pittsfield</c:v>
                </c:pt>
              </c:strCache>
            </c:strRef>
          </c:tx>
          <c:spPr>
            <a:ln w="19050" cap="rnd">
              <a:solidFill>
                <a:schemeClr val="accent5"/>
              </a:solidFill>
              <a:round/>
            </a:ln>
            <a:effectLst/>
          </c:spPr>
          <c:marker>
            <c:symbol val="none"/>
          </c:marker>
          <c:cat>
            <c:numRef>
              <c:f>Sheet1!$A$2:$A$58</c:f>
              <c:numCache>
                <c:formatCode>m/d/yyyy</c:formatCode>
                <c:ptCount val="57"/>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c:v>44791</c:v>
                </c:pt>
                <c:pt idx="18">
                  <c:v>44792</c:v>
                </c:pt>
                <c:pt idx="19">
                  <c:v>44793</c:v>
                </c:pt>
                <c:pt idx="20">
                  <c:v>44794</c:v>
                </c:pt>
                <c:pt idx="21">
                  <c:v>44795</c:v>
                </c:pt>
                <c:pt idx="22">
                  <c:v>44796</c:v>
                </c:pt>
                <c:pt idx="23">
                  <c:v>44797</c:v>
                </c:pt>
                <c:pt idx="24">
                  <c:v>44798</c:v>
                </c:pt>
                <c:pt idx="25">
                  <c:v>44799</c:v>
                </c:pt>
                <c:pt idx="26">
                  <c:v>44800</c:v>
                </c:pt>
                <c:pt idx="27">
                  <c:v>44801</c:v>
                </c:pt>
                <c:pt idx="28">
                  <c:v>44802</c:v>
                </c:pt>
                <c:pt idx="29">
                  <c:v>44803</c:v>
                </c:pt>
                <c:pt idx="30">
                  <c:v>44804</c:v>
                </c:pt>
                <c:pt idx="31">
                  <c:v>44805</c:v>
                </c:pt>
                <c:pt idx="32">
                  <c:v>44806</c:v>
                </c:pt>
                <c:pt idx="33">
                  <c:v>44807</c:v>
                </c:pt>
                <c:pt idx="34">
                  <c:v>44808</c:v>
                </c:pt>
                <c:pt idx="35">
                  <c:v>44809</c:v>
                </c:pt>
                <c:pt idx="36">
                  <c:v>44810</c:v>
                </c:pt>
                <c:pt idx="37">
                  <c:v>44811</c:v>
                </c:pt>
                <c:pt idx="38">
                  <c:v>44812</c:v>
                </c:pt>
                <c:pt idx="39">
                  <c:v>44813</c:v>
                </c:pt>
                <c:pt idx="40">
                  <c:v>44814</c:v>
                </c:pt>
                <c:pt idx="41">
                  <c:v>44815</c:v>
                </c:pt>
                <c:pt idx="42">
                  <c:v>44816</c:v>
                </c:pt>
                <c:pt idx="43">
                  <c:v>44817</c:v>
                </c:pt>
                <c:pt idx="44">
                  <c:v>44818</c:v>
                </c:pt>
                <c:pt idx="45">
                  <c:v>44819</c:v>
                </c:pt>
                <c:pt idx="46">
                  <c:v>44820</c:v>
                </c:pt>
                <c:pt idx="47">
                  <c:v>44821</c:v>
                </c:pt>
                <c:pt idx="48">
                  <c:v>44822</c:v>
                </c:pt>
                <c:pt idx="49">
                  <c:v>44823</c:v>
                </c:pt>
                <c:pt idx="50">
                  <c:v>44824</c:v>
                </c:pt>
                <c:pt idx="51">
                  <c:v>44825</c:v>
                </c:pt>
                <c:pt idx="52">
                  <c:v>44826</c:v>
                </c:pt>
                <c:pt idx="53">
                  <c:v>44827</c:v>
                </c:pt>
                <c:pt idx="54">
                  <c:v>44828</c:v>
                </c:pt>
                <c:pt idx="55">
                  <c:v>44829</c:v>
                </c:pt>
                <c:pt idx="56">
                  <c:v>44830</c:v>
                </c:pt>
              </c:numCache>
            </c:numRef>
          </c:cat>
          <c:val>
            <c:numRef>
              <c:f>Sheet1!$E$2:$E$58</c:f>
              <c:numCache>
                <c:formatCode>0</c:formatCode>
                <c:ptCount val="57"/>
                <c:pt idx="0">
                  <c:v>646.50806782500001</c:v>
                </c:pt>
                <c:pt idx="1">
                  <c:v>876.08282877500005</c:v>
                </c:pt>
                <c:pt idx="2">
                  <c:v>876.08282877500005</c:v>
                </c:pt>
                <c:pt idx="3">
                  <c:v>862.22674477500004</c:v>
                </c:pt>
                <c:pt idx="4">
                  <c:v>851.65550977500004</c:v>
                </c:pt>
                <c:pt idx="5">
                  <c:v>851.65550977500004</c:v>
                </c:pt>
                <c:pt idx="6">
                  <c:v>851.65550977500004</c:v>
                </c:pt>
                <c:pt idx="7">
                  <c:v>977.49466927499998</c:v>
                </c:pt>
                <c:pt idx="8">
                  <c:v>842.47170103333337</c:v>
                </c:pt>
                <c:pt idx="9">
                  <c:v>842</c:v>
                </c:pt>
                <c:pt idx="10">
                  <c:v>814</c:v>
                </c:pt>
                <c:pt idx="11">
                  <c:v>786</c:v>
                </c:pt>
                <c:pt idx="12">
                  <c:v>786</c:v>
                </c:pt>
                <c:pt idx="13">
                  <c:v>786</c:v>
                </c:pt>
                <c:pt idx="14">
                  <c:v>881</c:v>
                </c:pt>
                <c:pt idx="15">
                  <c:v>880.53819633136266</c:v>
                </c:pt>
                <c:pt idx="16">
                  <c:v>880.53819633136266</c:v>
                </c:pt>
                <c:pt idx="17">
                  <c:v>895.11092609033597</c:v>
                </c:pt>
                <c:pt idx="18">
                  <c:v>1151.7756696541508</c:v>
                </c:pt>
                <c:pt idx="19">
                  <c:v>1151.7756696541508</c:v>
                </c:pt>
                <c:pt idx="20">
                  <c:v>1151.7756696541508</c:v>
                </c:pt>
                <c:pt idx="21">
                  <c:v>1145.9451480444341</c:v>
                </c:pt>
                <c:pt idx="22">
                  <c:v>1107</c:v>
                </c:pt>
                <c:pt idx="23">
                  <c:v>1107</c:v>
                </c:pt>
                <c:pt idx="24">
                  <c:v>1114</c:v>
                </c:pt>
                <c:pt idx="25">
                  <c:v>968</c:v>
                </c:pt>
                <c:pt idx="26">
                  <c:v>968</c:v>
                </c:pt>
                <c:pt idx="27">
                  <c:v>968</c:v>
                </c:pt>
                <c:pt idx="28">
                  <c:v>780</c:v>
                </c:pt>
                <c:pt idx="29">
                  <c:v>775</c:v>
                </c:pt>
                <c:pt idx="30">
                  <c:v>775</c:v>
                </c:pt>
                <c:pt idx="31">
                  <c:v>768.70157073903454</c:v>
                </c:pt>
                <c:pt idx="32">
                  <c:v>821.91275038394872</c:v>
                </c:pt>
                <c:pt idx="33">
                  <c:v>821.91275038394872</c:v>
                </c:pt>
                <c:pt idx="34">
                  <c:v>932.95361017766095</c:v>
                </c:pt>
                <c:pt idx="35">
                  <c:v>930.17885166659073</c:v>
                </c:pt>
                <c:pt idx="36">
                  <c:v>908.75777374258882</c:v>
                </c:pt>
                <c:pt idx="37">
                  <c:v>973.88299084148582</c:v>
                </c:pt>
                <c:pt idx="38">
                  <c:v>1197.7391951123843</c:v>
                </c:pt>
                <c:pt idx="39">
                  <c:v>1342.7334536523974</c:v>
                </c:pt>
                <c:pt idx="40">
                  <c:v>1364.7758054573249</c:v>
                </c:pt>
                <c:pt idx="41">
                  <c:v>1362.7189314747941</c:v>
                </c:pt>
                <c:pt idx="42">
                  <c:v>1584.2170031902699</c:v>
                </c:pt>
                <c:pt idx="43">
                  <c:v>1704.4065622227884</c:v>
                </c:pt>
                <c:pt idx="44">
                  <c:v>1785.3860594001519</c:v>
                </c:pt>
                <c:pt idx="45">
                  <c:v>1657.788469501118</c:v>
                </c:pt>
                <c:pt idx="46">
                  <c:v>1600.5235230489839</c:v>
                </c:pt>
                <c:pt idx="47">
                  <c:v>1626.3969247395075</c:v>
                </c:pt>
                <c:pt idx="48">
                  <c:v>1626.3969247395075</c:v>
                </c:pt>
                <c:pt idx="49">
                  <c:v>1777.9468675000576</c:v>
                </c:pt>
                <c:pt idx="50">
                  <c:v>1842.8545901000034</c:v>
                </c:pt>
                <c:pt idx="51">
                  <c:v>1842.8545901000034</c:v>
                </c:pt>
                <c:pt idx="52">
                  <c:v>1929.0043092271133</c:v>
                </c:pt>
                <c:pt idx="53">
                  <c:v>2128.0589429093498</c:v>
                </c:pt>
                <c:pt idx="54">
                  <c:v>2128.0589429093498</c:v>
                </c:pt>
                <c:pt idx="55">
                  <c:v>2128.0589429093498</c:v>
                </c:pt>
                <c:pt idx="56">
                  <c:v>1366.1828025869249</c:v>
                </c:pt>
              </c:numCache>
            </c:numRef>
          </c:val>
          <c:smooth val="0"/>
          <c:extLst>
            <c:ext xmlns:c16="http://schemas.microsoft.com/office/drawing/2014/chart" uri="{C3380CC4-5D6E-409C-BE32-E72D297353CC}">
              <c16:uniqueId val="{00000003-2521-4704-8001-83623E5F1097}"/>
            </c:ext>
          </c:extLst>
        </c:ser>
        <c:ser>
          <c:idx val="4"/>
          <c:order val="4"/>
          <c:tx>
            <c:strRef>
              <c:f>Sheet1!$F$1</c:f>
              <c:strCache>
                <c:ptCount val="1"/>
                <c:pt idx="0">
                  <c:v>South Hadley</c:v>
                </c:pt>
              </c:strCache>
            </c:strRef>
          </c:tx>
          <c:spPr>
            <a:ln w="19050" cap="rnd">
              <a:solidFill>
                <a:schemeClr val="accent6"/>
              </a:solidFill>
              <a:round/>
            </a:ln>
            <a:effectLst/>
          </c:spPr>
          <c:marker>
            <c:symbol val="none"/>
          </c:marker>
          <c:cat>
            <c:numRef>
              <c:f>Sheet1!$A$2:$A$58</c:f>
              <c:numCache>
                <c:formatCode>m/d/yyyy</c:formatCode>
                <c:ptCount val="57"/>
                <c:pt idx="0">
                  <c:v>44774</c:v>
                </c:pt>
                <c:pt idx="1">
                  <c:v>44775</c:v>
                </c:pt>
                <c:pt idx="2">
                  <c:v>44776</c:v>
                </c:pt>
                <c:pt idx="3">
                  <c:v>44777</c:v>
                </c:pt>
                <c:pt idx="4">
                  <c:v>44778</c:v>
                </c:pt>
                <c:pt idx="5">
                  <c:v>44779</c:v>
                </c:pt>
                <c:pt idx="6">
                  <c:v>44780</c:v>
                </c:pt>
                <c:pt idx="7">
                  <c:v>44781</c:v>
                </c:pt>
                <c:pt idx="8">
                  <c:v>44782</c:v>
                </c:pt>
                <c:pt idx="9">
                  <c:v>44783</c:v>
                </c:pt>
                <c:pt idx="10">
                  <c:v>44784</c:v>
                </c:pt>
                <c:pt idx="11">
                  <c:v>44785</c:v>
                </c:pt>
                <c:pt idx="12">
                  <c:v>44786</c:v>
                </c:pt>
                <c:pt idx="13">
                  <c:v>44787</c:v>
                </c:pt>
                <c:pt idx="14">
                  <c:v>44788</c:v>
                </c:pt>
                <c:pt idx="15">
                  <c:v>44789</c:v>
                </c:pt>
                <c:pt idx="16">
                  <c:v>44790</c:v>
                </c:pt>
                <c:pt idx="17">
                  <c:v>44791</c:v>
                </c:pt>
                <c:pt idx="18">
                  <c:v>44792</c:v>
                </c:pt>
                <c:pt idx="19">
                  <c:v>44793</c:v>
                </c:pt>
                <c:pt idx="20">
                  <c:v>44794</c:v>
                </c:pt>
                <c:pt idx="21">
                  <c:v>44795</c:v>
                </c:pt>
                <c:pt idx="22">
                  <c:v>44796</c:v>
                </c:pt>
                <c:pt idx="23">
                  <c:v>44797</c:v>
                </c:pt>
                <c:pt idx="24">
                  <c:v>44798</c:v>
                </c:pt>
                <c:pt idx="25">
                  <c:v>44799</c:v>
                </c:pt>
                <c:pt idx="26">
                  <c:v>44800</c:v>
                </c:pt>
                <c:pt idx="27">
                  <c:v>44801</c:v>
                </c:pt>
                <c:pt idx="28">
                  <c:v>44802</c:v>
                </c:pt>
                <c:pt idx="29">
                  <c:v>44803</c:v>
                </c:pt>
                <c:pt idx="30">
                  <c:v>44804</c:v>
                </c:pt>
                <c:pt idx="31">
                  <c:v>44805</c:v>
                </c:pt>
                <c:pt idx="32">
                  <c:v>44806</c:v>
                </c:pt>
                <c:pt idx="33">
                  <c:v>44807</c:v>
                </c:pt>
                <c:pt idx="34">
                  <c:v>44808</c:v>
                </c:pt>
                <c:pt idx="35">
                  <c:v>44809</c:v>
                </c:pt>
                <c:pt idx="36">
                  <c:v>44810</c:v>
                </c:pt>
                <c:pt idx="37">
                  <c:v>44811</c:v>
                </c:pt>
                <c:pt idx="38">
                  <c:v>44812</c:v>
                </c:pt>
                <c:pt idx="39">
                  <c:v>44813</c:v>
                </c:pt>
                <c:pt idx="40">
                  <c:v>44814</c:v>
                </c:pt>
                <c:pt idx="41">
                  <c:v>44815</c:v>
                </c:pt>
                <c:pt idx="42">
                  <c:v>44816</c:v>
                </c:pt>
                <c:pt idx="43">
                  <c:v>44817</c:v>
                </c:pt>
                <c:pt idx="44">
                  <c:v>44818</c:v>
                </c:pt>
                <c:pt idx="45">
                  <c:v>44819</c:v>
                </c:pt>
                <c:pt idx="46">
                  <c:v>44820</c:v>
                </c:pt>
                <c:pt idx="47">
                  <c:v>44821</c:v>
                </c:pt>
                <c:pt idx="48">
                  <c:v>44822</c:v>
                </c:pt>
                <c:pt idx="49">
                  <c:v>44823</c:v>
                </c:pt>
                <c:pt idx="50">
                  <c:v>44824</c:v>
                </c:pt>
                <c:pt idx="51">
                  <c:v>44825</c:v>
                </c:pt>
                <c:pt idx="52">
                  <c:v>44826</c:v>
                </c:pt>
                <c:pt idx="53">
                  <c:v>44827</c:v>
                </c:pt>
                <c:pt idx="54">
                  <c:v>44828</c:v>
                </c:pt>
                <c:pt idx="55">
                  <c:v>44829</c:v>
                </c:pt>
                <c:pt idx="56">
                  <c:v>44830</c:v>
                </c:pt>
              </c:numCache>
            </c:numRef>
          </c:cat>
          <c:val>
            <c:numRef>
              <c:f>Sheet1!$F$2:$F$58</c:f>
              <c:numCache>
                <c:formatCode>0</c:formatCode>
                <c:ptCount val="57"/>
                <c:pt idx="0">
                  <c:v>918.87964065000006</c:v>
                </c:pt>
                <c:pt idx="1">
                  <c:v>918.87964065000006</c:v>
                </c:pt>
                <c:pt idx="2">
                  <c:v>1325.18337365</c:v>
                </c:pt>
                <c:pt idx="3">
                  <c:v>1325.18337365</c:v>
                </c:pt>
                <c:pt idx="4">
                  <c:v>1316.9627083</c:v>
                </c:pt>
                <c:pt idx="5">
                  <c:v>1316.9627083</c:v>
                </c:pt>
                <c:pt idx="6">
                  <c:v>1316.9627083</c:v>
                </c:pt>
                <c:pt idx="7">
                  <c:v>1316.9627083</c:v>
                </c:pt>
                <c:pt idx="8">
                  <c:v>1316.9627083</c:v>
                </c:pt>
                <c:pt idx="9">
                  <c:v>649</c:v>
                </c:pt>
                <c:pt idx="10">
                  <c:v>649</c:v>
                </c:pt>
                <c:pt idx="11">
                  <c:v>466</c:v>
                </c:pt>
                <c:pt idx="12">
                  <c:v>466</c:v>
                </c:pt>
                <c:pt idx="13">
                  <c:v>466</c:v>
                </c:pt>
                <c:pt idx="14">
                  <c:v>466</c:v>
                </c:pt>
                <c:pt idx="15">
                  <c:v>466.33234528604601</c:v>
                </c:pt>
                <c:pt idx="16">
                  <c:v>546.43555794681595</c:v>
                </c:pt>
                <c:pt idx="17">
                  <c:v>546.43555794681595</c:v>
                </c:pt>
                <c:pt idx="18">
                  <c:v>519.52847811503295</c:v>
                </c:pt>
                <c:pt idx="19">
                  <c:v>822.45835633123534</c:v>
                </c:pt>
                <c:pt idx="20">
                  <c:v>822.45835633123534</c:v>
                </c:pt>
                <c:pt idx="21">
                  <c:v>822.45835633123534</c:v>
                </c:pt>
                <c:pt idx="22">
                  <c:v>822</c:v>
                </c:pt>
                <c:pt idx="23">
                  <c:v>960</c:v>
                </c:pt>
                <c:pt idx="24">
                  <c:v>960</c:v>
                </c:pt>
                <c:pt idx="25">
                  <c:v>1428</c:v>
                </c:pt>
                <c:pt idx="26">
                  <c:v>1428</c:v>
                </c:pt>
                <c:pt idx="27">
                  <c:v>1428</c:v>
                </c:pt>
                <c:pt idx="28">
                  <c:v>527</c:v>
                </c:pt>
                <c:pt idx="29">
                  <c:v>527</c:v>
                </c:pt>
                <c:pt idx="30">
                  <c:v>1015</c:v>
                </c:pt>
                <c:pt idx="31">
                  <c:v>1014.7129977749667</c:v>
                </c:pt>
                <c:pt idx="32">
                  <c:v>1126.8545843304978</c:v>
                </c:pt>
                <c:pt idx="33">
                  <c:v>1021.6890710175111</c:v>
                </c:pt>
                <c:pt idx="34">
                  <c:v>1043.7470084851989</c:v>
                </c:pt>
                <c:pt idx="35">
                  <c:v>1046.7367535611793</c:v>
                </c:pt>
                <c:pt idx="36">
                  <c:v>989.95925907193998</c:v>
                </c:pt>
                <c:pt idx="37">
                  <c:v>941.80309534217167</c:v>
                </c:pt>
                <c:pt idx="38">
                  <c:v>941.80309534217167</c:v>
                </c:pt>
                <c:pt idx="39">
                  <c:v>1034.224409615465</c:v>
                </c:pt>
                <c:pt idx="40">
                  <c:v>1128.88681233686</c:v>
                </c:pt>
                <c:pt idx="41">
                  <c:v>1128.2684231330418</c:v>
                </c:pt>
                <c:pt idx="42">
                  <c:v>1266.8710711196327</c:v>
                </c:pt>
                <c:pt idx="43">
                  <c:v>1407.0708922431049</c:v>
                </c:pt>
                <c:pt idx="44">
                  <c:v>1596.845672569465</c:v>
                </c:pt>
                <c:pt idx="49">
                  <c:v>1052.7342595636019</c:v>
                </c:pt>
                <c:pt idx="50">
                  <c:v>1052.7342595636019</c:v>
                </c:pt>
                <c:pt idx="51">
                  <c:v>592.77131333945295</c:v>
                </c:pt>
                <c:pt idx="52">
                  <c:v>592.77131333945295</c:v>
                </c:pt>
                <c:pt idx="53">
                  <c:v>569.269639546196</c:v>
                </c:pt>
              </c:numCache>
            </c:numRef>
          </c:val>
          <c:smooth val="0"/>
          <c:extLst>
            <c:ext xmlns:c16="http://schemas.microsoft.com/office/drawing/2014/chart" uri="{C3380CC4-5D6E-409C-BE32-E72D297353CC}">
              <c16:uniqueId val="{00000004-2521-4704-8001-83623E5F1097}"/>
            </c:ext>
          </c:extLst>
        </c:ser>
        <c:dLbls>
          <c:showLegendKey val="0"/>
          <c:showVal val="0"/>
          <c:showCatName val="0"/>
          <c:showSerName val="0"/>
          <c:showPercent val="0"/>
          <c:showBubbleSize val="0"/>
        </c:dLbls>
        <c:smooth val="0"/>
        <c:axId val="494445784"/>
        <c:axId val="494447424"/>
      </c:lineChart>
      <c:dateAx>
        <c:axId val="494445784"/>
        <c:scaling>
          <c:orientation val="minMax"/>
          <c:max val="44830"/>
          <c:min val="44793"/>
        </c:scaling>
        <c:delete val="0"/>
        <c:axPos val="b"/>
        <c:majorGridlines>
          <c:spPr>
            <a:ln w="9525" cap="flat" cmpd="sng" algn="ctr">
              <a:solidFill>
                <a:schemeClr val="tx1">
                  <a:lumMod val="15000"/>
                  <a:lumOff val="85000"/>
                </a:schemeClr>
              </a:solidFill>
              <a:round/>
            </a:ln>
            <a:effectLst/>
          </c:spPr>
        </c:majorGridlines>
        <c:numFmt formatCode="m/d;@" sourceLinked="0"/>
        <c:majorTickMark val="out"/>
        <c:minorTickMark val="none"/>
        <c:tickLblPos val="low"/>
        <c:spPr>
          <a:solidFill>
            <a:schemeClr val="bg1"/>
          </a:solid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494447424"/>
        <c:crosses val="autoZero"/>
        <c:auto val="1"/>
        <c:lblOffset val="100"/>
        <c:baseTimeUnit val="days"/>
        <c:majorUnit val="4"/>
        <c:majorTimeUnit val="days"/>
      </c:dateAx>
      <c:valAx>
        <c:axId val="494447424"/>
        <c:scaling>
          <c:orientation val="minMax"/>
          <c:max val="6500"/>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Calibri" panose="020F0502020204030204" pitchFamily="34" charset="0"/>
              </a:defRPr>
            </a:pPr>
            <a:endParaRPr lang="en-US"/>
          </a:p>
        </c:txPr>
        <c:crossAx val="494445784"/>
        <c:crossesAt val="44593"/>
        <c:crossBetween val="midCat"/>
        <c:majorUnit val="10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1699</cdr:x>
      <cdr:y>0.38593</cdr:y>
    </cdr:from>
    <cdr:to>
      <cdr:x>0.10888</cdr:x>
      <cdr:y>0.62291</cdr:y>
    </cdr:to>
    <cdr:sp macro="" textlink="">
      <cdr:nvSpPr>
        <cdr:cNvPr id="4" name="TextBox 1">
          <a:extLst xmlns:a="http://schemas.openxmlformats.org/drawingml/2006/main">
            <a:ext uri="{FF2B5EF4-FFF2-40B4-BE49-F238E27FC236}">
              <a16:creationId xmlns:a16="http://schemas.microsoft.com/office/drawing/2014/main" id="{5EC054F2-FE00-46AB-8736-B1E6A19242ED}"/>
            </a:ext>
          </a:extLst>
        </cdr:cNvPr>
        <cdr:cNvSpPr txBox="1"/>
      </cdr:nvSpPr>
      <cdr:spPr>
        <a:xfrm xmlns:a="http://schemas.openxmlformats.org/drawingml/2006/main" rot="16200000">
          <a:off x="-179160" y="1761882"/>
          <a:ext cx="924913" cy="413657"/>
        </a:xfrm>
        <a:prstGeom xmlns:a="http://schemas.openxmlformats.org/drawingml/2006/main" prst="rect">
          <a:avLst/>
        </a:prstGeom>
        <a:ln xmlns:a="http://schemas.openxmlformats.org/drawingml/2006/main" w="6350">
          <a:noFill/>
          <a:miter lim="800000"/>
        </a:ln>
      </cdr:spPr>
      <cdr:txBody>
        <a:bodyPr xmlns:a="http://schemas.openxmlformats.org/drawingml/2006/main" vert="horz" wrap="square" lIns="0" tIns="0" rIns="0" b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spcBef>
              <a:spcPts val="300"/>
            </a:spcBef>
            <a:spcAft>
              <a:spcPts val="300"/>
            </a:spcAft>
            <a:buNone/>
          </a:pPr>
          <a:r>
            <a:rPr lang="en-US" sz="1200" dirty="0"/>
            <a:t>copies/mL</a:t>
          </a:r>
        </a:p>
      </cdr:txBody>
    </cdr:sp>
  </cdr:relSizeAnchor>
</c:userShapes>
</file>

<file path=ppt/drawings/drawing2.xml><?xml version="1.0" encoding="utf-8"?>
<c:userShapes xmlns:c="http://schemas.openxmlformats.org/drawingml/2006/chart">
  <cdr:relSizeAnchor xmlns:cdr="http://schemas.openxmlformats.org/drawingml/2006/chartDrawing">
    <cdr:from>
      <cdr:x>0.02012</cdr:x>
      <cdr:y>0.36615</cdr:y>
    </cdr:from>
    <cdr:to>
      <cdr:x>0.11065</cdr:x>
      <cdr:y>0.61538</cdr:y>
    </cdr:to>
    <cdr:sp macro="" textlink="">
      <cdr:nvSpPr>
        <cdr:cNvPr id="2" name="TextBox 1">
          <a:extLst xmlns:a="http://schemas.openxmlformats.org/drawingml/2006/main">
            <a:ext uri="{FF2B5EF4-FFF2-40B4-BE49-F238E27FC236}">
              <a16:creationId xmlns:a16="http://schemas.microsoft.com/office/drawing/2014/main" id="{09A27EC4-ED91-52F8-54C6-D858DE6039CC}"/>
            </a:ext>
          </a:extLst>
        </cdr:cNvPr>
        <cdr:cNvSpPr txBox="1"/>
      </cdr:nvSpPr>
      <cdr:spPr>
        <a:xfrm xmlns:a="http://schemas.openxmlformats.org/drawingml/2006/main" rot="16200000">
          <a:off x="-192025" y="1711661"/>
          <a:ext cx="972724" cy="407501"/>
        </a:xfrm>
        <a:prstGeom xmlns:a="http://schemas.openxmlformats.org/drawingml/2006/main" prst="rect">
          <a:avLst/>
        </a:prstGeom>
        <a:ln xmlns:a="http://schemas.openxmlformats.org/drawingml/2006/main" w="6350">
          <a:noFill/>
          <a:miter lim="800000"/>
        </a:ln>
      </cdr:spPr>
      <cdr:txBody>
        <a:bodyPr xmlns:a="http://schemas.openxmlformats.org/drawingml/2006/main" vertOverflow="clip" vert="horz" wrap="square" lIns="0" tIns="0" rIns="0" bIns="0" rtlCol="0">
          <a:noAutofit/>
        </a:bodyPr>
        <a:lstStyle xmlns:a="http://schemas.openxmlformats.org/drawingml/2006/main"/>
        <a:p xmlns:a="http://schemas.openxmlformats.org/drawingml/2006/main">
          <a:pPr algn="l">
            <a:spcBef>
              <a:spcPts val="300"/>
            </a:spcBef>
            <a:spcAft>
              <a:spcPts val="300"/>
            </a:spcAft>
            <a:buNone/>
          </a:pPr>
          <a:r>
            <a:rPr lang="en-US" sz="1200" dirty="0"/>
            <a:t>copies/mL</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1" y="0"/>
            <a:ext cx="3038258" cy="465292"/>
          </a:xfrm>
          <a:prstGeom prst="rect">
            <a:avLst/>
          </a:prstGeom>
        </p:spPr>
        <p:txBody>
          <a:bodyPr vert="horz" lIns="90416" tIns="45208" rIns="90416" bIns="45208"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3970576" y="0"/>
            <a:ext cx="3038258" cy="465292"/>
          </a:xfrm>
          <a:prstGeom prst="rect">
            <a:avLst/>
          </a:prstGeom>
        </p:spPr>
        <p:txBody>
          <a:bodyPr vert="horz" lIns="90416" tIns="45208" rIns="90416" bIns="45208" rtlCol="0"/>
          <a:lstStyle>
            <a:lvl1pPr algn="r">
              <a:defRPr sz="1200"/>
            </a:lvl1pPr>
          </a:lstStyle>
          <a:p>
            <a:fld id="{C0DF7188-80B9-4267-9A48-64F61C54F8C3}" type="datetime3">
              <a:rPr lang="en-US" smtClean="0"/>
              <a:t>28 September 2022</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1" y="8831108"/>
            <a:ext cx="3038258" cy="465292"/>
          </a:xfrm>
          <a:prstGeom prst="rect">
            <a:avLst/>
          </a:prstGeom>
        </p:spPr>
        <p:txBody>
          <a:bodyPr vert="horz" lIns="90416" tIns="45208" rIns="90416" bIns="45208"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3970576" y="8831108"/>
            <a:ext cx="3038258" cy="465292"/>
          </a:xfrm>
          <a:prstGeom prst="rect">
            <a:avLst/>
          </a:prstGeom>
        </p:spPr>
        <p:txBody>
          <a:bodyPr vert="horz" lIns="90416" tIns="45208" rIns="90416" bIns="45208"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04159" tIns="46586" rIns="93174" bIns="46586" rtlCol="0"/>
          <a:lstStyle>
            <a:lvl1pPr algn="l">
              <a:defRPr sz="900">
                <a:latin typeface="+mn-lt"/>
                <a:cs typeface="Arial" panose="020B0604020202020204" pitchFamily="34" charset="0"/>
              </a:defRPr>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4" tIns="46586" rIns="904159" bIns="46586" rtlCol="0"/>
          <a:lstStyle>
            <a:lvl1pPr algn="r">
              <a:defRPr sz="900">
                <a:latin typeface="+mn-lt"/>
                <a:cs typeface="Arial" panose="020B0604020202020204" pitchFamily="34" charset="0"/>
              </a:defRPr>
            </a:lvl1pPr>
          </a:lstStyle>
          <a:p>
            <a:fld id="{39E811EC-5EEB-4DF1-8FB8-01E61B44A7C4}" type="datetime3">
              <a:rPr lang="en-US" smtClean="0"/>
              <a:t>28 September 2022</a:t>
            </a:fld>
            <a:endParaRPr lang="en-US" dirty="0"/>
          </a:p>
        </p:txBody>
      </p:sp>
      <p:sp>
        <p:nvSpPr>
          <p:cNvPr id="4" name="Slide Image Placeholder 3"/>
          <p:cNvSpPr>
            <a:spLocks noGrp="1" noRot="1" noChangeAspect="1"/>
          </p:cNvSpPr>
          <p:nvPr>
            <p:ph type="sldImg" idx="2"/>
          </p:nvPr>
        </p:nvSpPr>
        <p:spPr>
          <a:xfrm>
            <a:off x="990600" y="584200"/>
            <a:ext cx="5029200" cy="3771900"/>
          </a:xfrm>
          <a:prstGeom prst="rect">
            <a:avLst/>
          </a:prstGeom>
          <a:noFill/>
          <a:ln w="6350">
            <a:solidFill>
              <a:prstClr val="black"/>
            </a:solidFill>
          </a:ln>
        </p:spPr>
        <p:txBody>
          <a:bodyPr vert="horz" lIns="93174" tIns="46586" rIns="93174" bIns="46586" rtlCol="0" anchor="ctr"/>
          <a:lstStyle/>
          <a:p>
            <a:endParaRPr lang="en-US" dirty="0"/>
          </a:p>
        </p:txBody>
      </p:sp>
      <p:sp>
        <p:nvSpPr>
          <p:cNvPr id="6" name="Footer Placeholder 5"/>
          <p:cNvSpPr>
            <a:spLocks noGrp="1"/>
          </p:cNvSpPr>
          <p:nvPr>
            <p:ph type="ftr" sz="quarter" idx="4"/>
          </p:nvPr>
        </p:nvSpPr>
        <p:spPr>
          <a:xfrm>
            <a:off x="0" y="8829967"/>
            <a:ext cx="3037840" cy="466433"/>
          </a:xfrm>
          <a:prstGeom prst="rect">
            <a:avLst/>
          </a:prstGeom>
        </p:spPr>
        <p:txBody>
          <a:bodyPr vert="horz" lIns="904159" tIns="46586" rIns="93174" bIns="46586" rtlCol="0" anchor="b"/>
          <a:lstStyle>
            <a:lvl1pPr algn="l">
              <a:defRPr sz="900">
                <a:latin typeface="+mn-lt"/>
                <a:cs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4" tIns="46586" rIns="904159" bIns="46586"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dirty="0"/>
          </a:p>
        </p:txBody>
      </p:sp>
      <p:sp>
        <p:nvSpPr>
          <p:cNvPr id="8" name="Notes Placeholder 7">
            <a:extLst>
              <a:ext uri="{FF2B5EF4-FFF2-40B4-BE49-F238E27FC236}">
                <a16:creationId xmlns:a16="http://schemas.microsoft.com/office/drawing/2014/main" id="{C9DD6736-F296-466C-A9BC-35AE03FEA2BA}"/>
              </a:ext>
            </a:extLst>
          </p:cNvPr>
          <p:cNvSpPr>
            <a:spLocks noGrp="1"/>
          </p:cNvSpPr>
          <p:nvPr>
            <p:ph type="body" sz="quarter" idx="3"/>
          </p:nvPr>
        </p:nvSpPr>
        <p:spPr>
          <a:xfrm>
            <a:off x="700413" y="4473716"/>
            <a:ext cx="5609574" cy="1000274"/>
          </a:xfrm>
          <a:prstGeom prst="rect">
            <a:avLst/>
          </a:prstGeom>
        </p:spPr>
        <p:txBody>
          <a:bodyPr vert="horz"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buFontTx/>
      <a:buNone/>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190" y="4444686"/>
            <a:ext cx="5487627" cy="168179"/>
          </a:xfrm>
        </p:spPr>
        <p:txBody>
          <a:bodyPr/>
          <a:lstStyle/>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r>
              <a:rPr lang="en-US" sz="1100" dirty="0">
                <a:latin typeface="+mj-lt"/>
              </a:rPr>
              <a:t> Massachusetts Water Resources Authority (MWRA), Amherst Public Works, Athol WWTP, Billerica Influent, Veolia Brockton Plant, Chicopee Plant, Fitchburg WWTP, Greenfield WWTP, Haverhill WWTP, Hull WWTP, Greater Lawrence Sanitary District, Fall River WWTP, North Brookfield WWTP, South Essex Sewage District, Pittsfield WWTP, Plymouth Headworks Influent, Provincetown Treatment Plant, South Hadley Water Pollution Control, Uxbridge WWTP, Wareham Water Pollution Control, and Upper Blackstone Clean Water. The following cities are covered by </a:t>
            </a:r>
          </a:p>
          <a:p>
            <a:endParaRPr lang="en-US" sz="1100" b="1" dirty="0">
              <a:latin typeface="+mj-lt"/>
            </a:endParaRPr>
          </a:p>
          <a:p>
            <a:r>
              <a:rPr lang="en-US" sz="1100" b="1" dirty="0">
                <a:solidFill>
                  <a:schemeClr val="tx2"/>
                </a:solidFill>
                <a:latin typeface="+mj-lt"/>
              </a:rPr>
              <a:t>What does wastewater surveillance data show? </a:t>
            </a:r>
          </a:p>
          <a:p>
            <a:r>
              <a:rPr lang="en-US" sz="1100" dirty="0">
                <a:solidFill>
                  <a:srgbClr val="000000"/>
                </a:solidFill>
                <a:latin typeface="+mj-lt"/>
              </a:rPr>
              <a:t>Wastewater data can also help us track trends in the number of people that have COVID-19 in a community. The amount of virus that a person has in their stool and the length of time that they have virus in their stool varies. Because of this, t</a:t>
            </a:r>
            <a:r>
              <a:rPr lang="en-US" sz="1100" b="0" i="0" dirty="0">
                <a:solidFill>
                  <a:srgbClr val="000000"/>
                </a:solidFill>
                <a:effectLst/>
                <a:latin typeface="+mj-lt"/>
              </a:rPr>
              <a:t>he amount of virus measured in wastewater does not tell us total number of cases in the area and does not tell us the amount of increase or decrease in cases in communities. However, if the amount of virus in wastewater increases or decreases over several time points, that information shows that cases are either increasing or decreasing in the community. Importantly, wastewater data can provide an early warning about increasing cases since virus will show up in wastewater several days, maybe even a week, before positive test numbers start to increase.</a:t>
            </a:r>
            <a:endParaRPr lang="en-US" sz="1200" dirty="0">
              <a:latin typeface="+mj-lt"/>
            </a:endParaRPr>
          </a:p>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 September 202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2193781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190" y="4444686"/>
            <a:ext cx="5487627" cy="168179"/>
          </a:xfrm>
        </p:spPr>
        <p:txBody>
          <a:bodyPr/>
          <a:lstStyle/>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endParaRPr lang="en-US" sz="1100" dirty="0">
              <a:latin typeface="+mj-lt"/>
            </a:endParaRPr>
          </a:p>
          <a:p>
            <a:r>
              <a:rPr lang="en-US" sz="1100" dirty="0">
                <a:latin typeface="+mj-lt"/>
              </a:rPr>
              <a:t> Massachusetts Water Resources Authority (MWRA), Amherst Public Works, Athol WWTP, Billerica Influent, Veolia Brockton Plant, Chicopee Plant, Fitchburg WWTP, Greenfield WWTP, Haverhill WWTP, Hull WWTP, Greater Lawrence Sanitary District, Fall River WWTP, North Brookfield WWTP, South Essex Sewage District, Pittsfield WWTP, Plymouth Headworks Influent, Provincetown Treatment Plant, South Hadley Water Pollution Control, Uxbridge WWTP, Wareham Water Pollution Control, and Upper Blackstone Clean Water. The following cities are covered by </a:t>
            </a:r>
          </a:p>
          <a:p>
            <a:endParaRPr lang="en-US" sz="1100" b="1" dirty="0">
              <a:latin typeface="+mj-lt"/>
            </a:endParaRPr>
          </a:p>
          <a:p>
            <a:r>
              <a:rPr lang="en-US" sz="1100" b="1" dirty="0">
                <a:solidFill>
                  <a:schemeClr val="tx2"/>
                </a:solidFill>
                <a:latin typeface="+mj-lt"/>
              </a:rPr>
              <a:t>What does wastewater surveillance data show? </a:t>
            </a:r>
          </a:p>
          <a:p>
            <a:r>
              <a:rPr lang="en-US" sz="1100" dirty="0">
                <a:solidFill>
                  <a:srgbClr val="000000"/>
                </a:solidFill>
                <a:latin typeface="+mj-lt"/>
              </a:rPr>
              <a:t>Wastewater data can also help us track trends in the number of people that have COVID-19 in a community. The amount of virus that a person has in their stool and the length of time that they have virus in their stool varies. Because of this, t</a:t>
            </a:r>
            <a:r>
              <a:rPr lang="en-US" sz="1100" b="0" i="0" dirty="0">
                <a:solidFill>
                  <a:srgbClr val="000000"/>
                </a:solidFill>
                <a:effectLst/>
                <a:latin typeface="+mj-lt"/>
              </a:rPr>
              <a:t>he amount of virus measured in wastewater does not tell us total number of cases in the area and does not tell us the amount of increase or decrease in cases in communities. However, if the amount of virus in wastewater increases or decreases over several time points, that information shows that cases are either increasing or decreasing in the community. Importantly, wastewater data can provide an early warning about increasing cases since virus will show up in wastewater several days, maybe even a week, before positive test numbers start to increase.</a:t>
            </a:r>
            <a:endParaRPr lang="en-US" sz="1200" dirty="0">
              <a:latin typeface="+mj-lt"/>
            </a:endParaRPr>
          </a:p>
          <a:p>
            <a:endParaRPr lang="en-US"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 September 202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200370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190" y="4444686"/>
            <a:ext cx="5487627" cy="168179"/>
          </a:xfrm>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US" sz="1100" dirty="0">
                <a:highlight>
                  <a:srgbClr val="FFFF00"/>
                </a:highlight>
              </a:rPr>
              <a:t>Brock, fall, hull, </a:t>
            </a:r>
            <a:r>
              <a:rPr lang="en-US" sz="1100" dirty="0" err="1">
                <a:highlight>
                  <a:srgbClr val="FFFF00"/>
                </a:highlight>
              </a:rPr>
              <a:t>nb</a:t>
            </a:r>
            <a:endParaRPr lang="en-US" sz="1100" dirty="0">
              <a:highlight>
                <a:srgbClr val="FFFF00"/>
              </a:highlight>
            </a:endParaRP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 September 202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147651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190" y="4444686"/>
            <a:ext cx="5487627" cy="168179"/>
          </a:xfrm>
        </p:spPr>
        <p: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lang="en-US" sz="1100" dirty="0">
              <a:highlight>
                <a:srgbClr val="FFFF00"/>
              </a:highlight>
            </a:endParaRP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 September 202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23458426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5" Type="http://schemas.openxmlformats.org/officeDocument/2006/relationships/tags" Target="../tags/tag28.xml"/><Relationship Id="rId10" Type="http://schemas.openxmlformats.org/officeDocument/2006/relationships/image" Target="../media/image2.emf"/><Relationship Id="rId4" Type="http://schemas.openxmlformats.org/officeDocument/2006/relationships/tags" Target="../tags/tag27.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00.xml"/><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image" Target="../media/image2.emf"/><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oleObject" Target="../embeddings/oleObject11.bin"/><Relationship Id="rId5" Type="http://schemas.openxmlformats.org/officeDocument/2006/relationships/tags" Target="../tags/tag97.xml"/><Relationship Id="rId10" Type="http://schemas.openxmlformats.org/officeDocument/2006/relationships/slideMaster" Target="../slideMasters/slideMaster1.xml"/><Relationship Id="rId4" Type="http://schemas.openxmlformats.org/officeDocument/2006/relationships/tags" Target="../tags/tag96.xml"/><Relationship Id="rId9" Type="http://schemas.openxmlformats.org/officeDocument/2006/relationships/tags" Target="../tags/tag101.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825.xml"/><Relationship Id="rId3" Type="http://schemas.openxmlformats.org/officeDocument/2006/relationships/tags" Target="../tags/tag820.xml"/><Relationship Id="rId7" Type="http://schemas.openxmlformats.org/officeDocument/2006/relationships/tags" Target="../tags/tag824.xml"/><Relationship Id="rId12" Type="http://schemas.openxmlformats.org/officeDocument/2006/relationships/image" Target="../media/image3.emf"/><Relationship Id="rId2" Type="http://schemas.openxmlformats.org/officeDocument/2006/relationships/tags" Target="../tags/tag819.xml"/><Relationship Id="rId1" Type="http://schemas.openxmlformats.org/officeDocument/2006/relationships/tags" Target="../tags/tag818.xml"/><Relationship Id="rId6" Type="http://schemas.openxmlformats.org/officeDocument/2006/relationships/tags" Target="../tags/tag823.xml"/><Relationship Id="rId11" Type="http://schemas.openxmlformats.org/officeDocument/2006/relationships/oleObject" Target="../embeddings/oleObject104.bin"/><Relationship Id="rId5" Type="http://schemas.openxmlformats.org/officeDocument/2006/relationships/tags" Target="../tags/tag822.xml"/><Relationship Id="rId10" Type="http://schemas.openxmlformats.org/officeDocument/2006/relationships/slideMaster" Target="../slideMasters/slideMaster7.xml"/><Relationship Id="rId4" Type="http://schemas.openxmlformats.org/officeDocument/2006/relationships/tags" Target="../tags/tag821.xml"/><Relationship Id="rId9" Type="http://schemas.openxmlformats.org/officeDocument/2006/relationships/tags" Target="../tags/tag826.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834.xml"/><Relationship Id="rId3" Type="http://schemas.openxmlformats.org/officeDocument/2006/relationships/tags" Target="../tags/tag829.xml"/><Relationship Id="rId7" Type="http://schemas.openxmlformats.org/officeDocument/2006/relationships/tags" Target="../tags/tag833.xml"/><Relationship Id="rId12" Type="http://schemas.openxmlformats.org/officeDocument/2006/relationships/image" Target="../media/image3.emf"/><Relationship Id="rId2" Type="http://schemas.openxmlformats.org/officeDocument/2006/relationships/tags" Target="../tags/tag828.xml"/><Relationship Id="rId1" Type="http://schemas.openxmlformats.org/officeDocument/2006/relationships/tags" Target="../tags/tag827.xml"/><Relationship Id="rId6" Type="http://schemas.openxmlformats.org/officeDocument/2006/relationships/tags" Target="../tags/tag832.xml"/><Relationship Id="rId11" Type="http://schemas.openxmlformats.org/officeDocument/2006/relationships/oleObject" Target="../embeddings/oleObject105.bin"/><Relationship Id="rId5" Type="http://schemas.openxmlformats.org/officeDocument/2006/relationships/tags" Target="../tags/tag831.xml"/><Relationship Id="rId10" Type="http://schemas.openxmlformats.org/officeDocument/2006/relationships/slideMaster" Target="../slideMasters/slideMaster7.xml"/><Relationship Id="rId4" Type="http://schemas.openxmlformats.org/officeDocument/2006/relationships/tags" Target="../tags/tag830.xml"/><Relationship Id="rId9" Type="http://schemas.openxmlformats.org/officeDocument/2006/relationships/tags" Target="../tags/tag835.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43.xml"/><Relationship Id="rId3" Type="http://schemas.openxmlformats.org/officeDocument/2006/relationships/tags" Target="../tags/tag838.xml"/><Relationship Id="rId7" Type="http://schemas.openxmlformats.org/officeDocument/2006/relationships/tags" Target="../tags/tag842.xml"/><Relationship Id="rId12" Type="http://schemas.openxmlformats.org/officeDocument/2006/relationships/image" Target="../media/image2.emf"/><Relationship Id="rId2" Type="http://schemas.openxmlformats.org/officeDocument/2006/relationships/tags" Target="../tags/tag837.xml"/><Relationship Id="rId1" Type="http://schemas.openxmlformats.org/officeDocument/2006/relationships/tags" Target="../tags/tag836.xml"/><Relationship Id="rId6" Type="http://schemas.openxmlformats.org/officeDocument/2006/relationships/tags" Target="../tags/tag841.xml"/><Relationship Id="rId11" Type="http://schemas.openxmlformats.org/officeDocument/2006/relationships/oleObject" Target="../embeddings/oleObject106.bin"/><Relationship Id="rId5" Type="http://schemas.openxmlformats.org/officeDocument/2006/relationships/tags" Target="../tags/tag840.xml"/><Relationship Id="rId10" Type="http://schemas.openxmlformats.org/officeDocument/2006/relationships/slideMaster" Target="../slideMasters/slideMaster7.xml"/><Relationship Id="rId4" Type="http://schemas.openxmlformats.org/officeDocument/2006/relationships/tags" Target="../tags/tag839.xml"/><Relationship Id="rId9" Type="http://schemas.openxmlformats.org/officeDocument/2006/relationships/tags" Target="../tags/tag844.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852.xml"/><Relationship Id="rId3" Type="http://schemas.openxmlformats.org/officeDocument/2006/relationships/tags" Target="../tags/tag847.xml"/><Relationship Id="rId7" Type="http://schemas.openxmlformats.org/officeDocument/2006/relationships/tags" Target="../tags/tag851.xml"/><Relationship Id="rId12" Type="http://schemas.openxmlformats.org/officeDocument/2006/relationships/image" Target="../media/image2.emf"/><Relationship Id="rId2" Type="http://schemas.openxmlformats.org/officeDocument/2006/relationships/tags" Target="../tags/tag846.xml"/><Relationship Id="rId1" Type="http://schemas.openxmlformats.org/officeDocument/2006/relationships/tags" Target="../tags/tag845.xml"/><Relationship Id="rId6" Type="http://schemas.openxmlformats.org/officeDocument/2006/relationships/tags" Target="../tags/tag850.xml"/><Relationship Id="rId11" Type="http://schemas.openxmlformats.org/officeDocument/2006/relationships/oleObject" Target="../embeddings/oleObject107.bin"/><Relationship Id="rId5" Type="http://schemas.openxmlformats.org/officeDocument/2006/relationships/tags" Target="../tags/tag849.xml"/><Relationship Id="rId10" Type="http://schemas.openxmlformats.org/officeDocument/2006/relationships/slideMaster" Target="../slideMasters/slideMaster7.xml"/><Relationship Id="rId4" Type="http://schemas.openxmlformats.org/officeDocument/2006/relationships/tags" Target="../tags/tag848.xml"/><Relationship Id="rId9" Type="http://schemas.openxmlformats.org/officeDocument/2006/relationships/tags" Target="../tags/tag853.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861.xml"/><Relationship Id="rId3" Type="http://schemas.openxmlformats.org/officeDocument/2006/relationships/tags" Target="../tags/tag856.xml"/><Relationship Id="rId7" Type="http://schemas.openxmlformats.org/officeDocument/2006/relationships/tags" Target="../tags/tag860.xml"/><Relationship Id="rId12" Type="http://schemas.openxmlformats.org/officeDocument/2006/relationships/image" Target="../media/image3.emf"/><Relationship Id="rId2" Type="http://schemas.openxmlformats.org/officeDocument/2006/relationships/tags" Target="../tags/tag855.xml"/><Relationship Id="rId1" Type="http://schemas.openxmlformats.org/officeDocument/2006/relationships/tags" Target="../tags/tag854.xml"/><Relationship Id="rId6" Type="http://schemas.openxmlformats.org/officeDocument/2006/relationships/tags" Target="../tags/tag859.xml"/><Relationship Id="rId11" Type="http://schemas.openxmlformats.org/officeDocument/2006/relationships/oleObject" Target="../embeddings/oleObject108.bin"/><Relationship Id="rId5" Type="http://schemas.openxmlformats.org/officeDocument/2006/relationships/tags" Target="../tags/tag858.xml"/><Relationship Id="rId10" Type="http://schemas.openxmlformats.org/officeDocument/2006/relationships/slideMaster" Target="../slideMasters/slideMaster7.xml"/><Relationship Id="rId4" Type="http://schemas.openxmlformats.org/officeDocument/2006/relationships/tags" Target="../tags/tag857.xml"/><Relationship Id="rId9" Type="http://schemas.openxmlformats.org/officeDocument/2006/relationships/tags" Target="../tags/tag862.xml"/></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865.xml"/><Relationship Id="rId7" Type="http://schemas.openxmlformats.org/officeDocument/2006/relationships/tags" Target="../tags/tag869.xml"/><Relationship Id="rId2" Type="http://schemas.openxmlformats.org/officeDocument/2006/relationships/tags" Target="../tags/tag864.xml"/><Relationship Id="rId1" Type="http://schemas.openxmlformats.org/officeDocument/2006/relationships/tags" Target="../tags/tag863.xml"/><Relationship Id="rId6" Type="http://schemas.openxmlformats.org/officeDocument/2006/relationships/tags" Target="../tags/tag868.xml"/><Relationship Id="rId5" Type="http://schemas.openxmlformats.org/officeDocument/2006/relationships/tags" Target="../tags/tag867.xml"/><Relationship Id="rId10" Type="http://schemas.openxmlformats.org/officeDocument/2006/relationships/image" Target="../media/image1.emf"/><Relationship Id="rId4" Type="http://schemas.openxmlformats.org/officeDocument/2006/relationships/tags" Target="../tags/tag866.xml"/><Relationship Id="rId9" Type="http://schemas.openxmlformats.org/officeDocument/2006/relationships/oleObject" Target="../embeddings/oleObject109.bin"/></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72.xml"/><Relationship Id="rId7" Type="http://schemas.openxmlformats.org/officeDocument/2006/relationships/oleObject" Target="../embeddings/oleObject110.bin"/><Relationship Id="rId2" Type="http://schemas.openxmlformats.org/officeDocument/2006/relationships/tags" Target="../tags/tag871.xml"/><Relationship Id="rId1" Type="http://schemas.openxmlformats.org/officeDocument/2006/relationships/tags" Target="../tags/tag870.xml"/><Relationship Id="rId6" Type="http://schemas.openxmlformats.org/officeDocument/2006/relationships/slideMaster" Target="../slideMasters/slideMaster7.xml"/><Relationship Id="rId5" Type="http://schemas.openxmlformats.org/officeDocument/2006/relationships/tags" Target="../tags/tag874.xml"/><Relationship Id="rId4" Type="http://schemas.openxmlformats.org/officeDocument/2006/relationships/tags" Target="../tags/tag873.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877.xml"/><Relationship Id="rId2" Type="http://schemas.openxmlformats.org/officeDocument/2006/relationships/tags" Target="../tags/tag876.xml"/><Relationship Id="rId1" Type="http://schemas.openxmlformats.org/officeDocument/2006/relationships/tags" Target="../tags/tag875.xml"/><Relationship Id="rId6" Type="http://schemas.openxmlformats.org/officeDocument/2006/relationships/image" Target="../media/image2.emf"/><Relationship Id="rId5" Type="http://schemas.openxmlformats.org/officeDocument/2006/relationships/oleObject" Target="../embeddings/oleObject111.bin"/><Relationship Id="rId4"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109.xml"/><Relationship Id="rId3" Type="http://schemas.openxmlformats.org/officeDocument/2006/relationships/tags" Target="../tags/tag104.xml"/><Relationship Id="rId7" Type="http://schemas.openxmlformats.org/officeDocument/2006/relationships/tags" Target="../tags/tag108.xml"/><Relationship Id="rId12" Type="http://schemas.openxmlformats.org/officeDocument/2006/relationships/image" Target="../media/image2.emf"/><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tags" Target="../tags/tag107.xml"/><Relationship Id="rId11" Type="http://schemas.openxmlformats.org/officeDocument/2006/relationships/oleObject" Target="../embeddings/oleObject12.bin"/><Relationship Id="rId5" Type="http://schemas.openxmlformats.org/officeDocument/2006/relationships/tags" Target="../tags/tag106.xml"/><Relationship Id="rId10" Type="http://schemas.openxmlformats.org/officeDocument/2006/relationships/slideMaster" Target="../slideMasters/slideMaster1.xml"/><Relationship Id="rId4" Type="http://schemas.openxmlformats.org/officeDocument/2006/relationships/tags" Target="../tags/tag105.xml"/><Relationship Id="rId9" Type="http://schemas.openxmlformats.org/officeDocument/2006/relationships/tags" Target="../tags/tag110.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18.xml"/><Relationship Id="rId3" Type="http://schemas.openxmlformats.org/officeDocument/2006/relationships/tags" Target="../tags/tag113.xml"/><Relationship Id="rId7" Type="http://schemas.openxmlformats.org/officeDocument/2006/relationships/tags" Target="../tags/tag117.xml"/><Relationship Id="rId12" Type="http://schemas.openxmlformats.org/officeDocument/2006/relationships/image" Target="../media/image3.emf"/><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tags" Target="../tags/tag116.xml"/><Relationship Id="rId11" Type="http://schemas.openxmlformats.org/officeDocument/2006/relationships/oleObject" Target="../embeddings/oleObject13.bin"/><Relationship Id="rId5" Type="http://schemas.openxmlformats.org/officeDocument/2006/relationships/tags" Target="../tags/tag115.xml"/><Relationship Id="rId10" Type="http://schemas.openxmlformats.org/officeDocument/2006/relationships/slideMaster" Target="../slideMasters/slideMaster1.xml"/><Relationship Id="rId4" Type="http://schemas.openxmlformats.org/officeDocument/2006/relationships/tags" Target="../tags/tag114.xml"/><Relationship Id="rId9" Type="http://schemas.openxmlformats.org/officeDocument/2006/relationships/tags" Target="../tags/tag119.xml"/></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2.xml"/><Relationship Id="rId7" Type="http://schemas.openxmlformats.org/officeDocument/2006/relationships/tags" Target="../tags/tag126.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tags" Target="../tags/tag125.xml"/><Relationship Id="rId5" Type="http://schemas.openxmlformats.org/officeDocument/2006/relationships/tags" Target="../tags/tag124.xml"/><Relationship Id="rId10" Type="http://schemas.openxmlformats.org/officeDocument/2006/relationships/image" Target="../media/image1.emf"/><Relationship Id="rId4" Type="http://schemas.openxmlformats.org/officeDocument/2006/relationships/tags" Target="../tags/tag123.xml"/><Relationship Id="rId9"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29.xml"/><Relationship Id="rId7" Type="http://schemas.openxmlformats.org/officeDocument/2006/relationships/oleObject" Target="../embeddings/oleObject15.bin"/><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slideMaster" Target="../slideMasters/slideMaster1.xml"/><Relationship Id="rId5" Type="http://schemas.openxmlformats.org/officeDocument/2006/relationships/tags" Target="../tags/tag131.xml"/><Relationship Id="rId4" Type="http://schemas.openxmlformats.org/officeDocument/2006/relationships/tags" Target="../tags/tag130.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8.xml"/><Relationship Id="rId7" Type="http://schemas.openxmlformats.org/officeDocument/2006/relationships/tags" Target="../tags/tag162.xml"/><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tags" Target="../tags/tag161.xml"/><Relationship Id="rId5" Type="http://schemas.openxmlformats.org/officeDocument/2006/relationships/tags" Target="../tags/tag160.xml"/><Relationship Id="rId10" Type="http://schemas.openxmlformats.org/officeDocument/2006/relationships/image" Target="../media/image2.emf"/><Relationship Id="rId4" Type="http://schemas.openxmlformats.org/officeDocument/2006/relationships/tags" Target="../tags/tag159.xml"/><Relationship Id="rId9"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65.xml"/><Relationship Id="rId7" Type="http://schemas.openxmlformats.org/officeDocument/2006/relationships/slideMaster" Target="../slideMasters/slideMaster2.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tags" Target="../tags/tag168.xml"/><Relationship Id="rId5" Type="http://schemas.openxmlformats.org/officeDocument/2006/relationships/tags" Target="../tags/tag167.xml"/><Relationship Id="rId4" Type="http://schemas.openxmlformats.org/officeDocument/2006/relationships/tags" Target="../tags/tag166.xml"/><Relationship Id="rId9"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20.bin"/><Relationship Id="rId3" Type="http://schemas.openxmlformats.org/officeDocument/2006/relationships/tags" Target="../tags/tag171.xml"/><Relationship Id="rId7" Type="http://schemas.openxmlformats.org/officeDocument/2006/relationships/slideMaster" Target="../slideMasters/slideMaster2.xml"/><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tags" Target="../tags/tag174.xml"/><Relationship Id="rId5" Type="http://schemas.openxmlformats.org/officeDocument/2006/relationships/tags" Target="../tags/tag173.xml"/><Relationship Id="rId4" Type="http://schemas.openxmlformats.org/officeDocument/2006/relationships/tags" Target="../tags/tag172.xml"/><Relationship Id="rId9"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77.xml"/><Relationship Id="rId7" Type="http://schemas.openxmlformats.org/officeDocument/2006/relationships/slideMaster" Target="../slideMasters/slideMaster2.xml"/><Relationship Id="rId2" Type="http://schemas.openxmlformats.org/officeDocument/2006/relationships/tags" Target="../tags/tag176.xml"/><Relationship Id="rId1" Type="http://schemas.openxmlformats.org/officeDocument/2006/relationships/tags" Target="../tags/tag175.xml"/><Relationship Id="rId6" Type="http://schemas.openxmlformats.org/officeDocument/2006/relationships/tags" Target="../tags/tag180.xml"/><Relationship Id="rId5" Type="http://schemas.openxmlformats.org/officeDocument/2006/relationships/tags" Target="../tags/tag179.xml"/><Relationship Id="rId4" Type="http://schemas.openxmlformats.org/officeDocument/2006/relationships/tags" Target="../tags/tag178.xml"/><Relationship Id="rId9"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3.xml"/><Relationship Id="rId7" Type="http://schemas.openxmlformats.org/officeDocument/2006/relationships/tags" Target="../tags/tag37.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tags" Target="../tags/tag36.xml"/><Relationship Id="rId5" Type="http://schemas.openxmlformats.org/officeDocument/2006/relationships/tags" Target="../tags/tag35.xml"/><Relationship Id="rId10" Type="http://schemas.openxmlformats.org/officeDocument/2006/relationships/image" Target="../media/image2.emf"/><Relationship Id="rId4" Type="http://schemas.openxmlformats.org/officeDocument/2006/relationships/tags" Target="../tags/tag34.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83.xml"/><Relationship Id="rId7" Type="http://schemas.openxmlformats.org/officeDocument/2006/relationships/slideMaster" Target="../slideMasters/slideMaster2.xml"/><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tags" Target="../tags/tag186.xml"/><Relationship Id="rId5" Type="http://schemas.openxmlformats.org/officeDocument/2006/relationships/tags" Target="../tags/tag185.xml"/><Relationship Id="rId4" Type="http://schemas.openxmlformats.org/officeDocument/2006/relationships/tags" Target="../tags/tag184.xml"/><Relationship Id="rId9"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89.xml"/><Relationship Id="rId7" Type="http://schemas.openxmlformats.org/officeDocument/2006/relationships/tags" Target="../tags/tag193.xml"/><Relationship Id="rId2" Type="http://schemas.openxmlformats.org/officeDocument/2006/relationships/tags" Target="../tags/tag188.xml"/><Relationship Id="rId1" Type="http://schemas.openxmlformats.org/officeDocument/2006/relationships/tags" Target="../tags/tag187.xml"/><Relationship Id="rId6" Type="http://schemas.openxmlformats.org/officeDocument/2006/relationships/tags" Target="../tags/tag192.xml"/><Relationship Id="rId5" Type="http://schemas.openxmlformats.org/officeDocument/2006/relationships/tags" Target="../tags/tag191.xml"/><Relationship Id="rId10" Type="http://schemas.openxmlformats.org/officeDocument/2006/relationships/image" Target="../media/image2.emf"/><Relationship Id="rId4" Type="http://schemas.openxmlformats.org/officeDocument/2006/relationships/tags" Target="../tags/tag190.xml"/><Relationship Id="rId9" Type="http://schemas.openxmlformats.org/officeDocument/2006/relationships/oleObject" Target="../embeddings/oleObject23.bin"/></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201.xml"/><Relationship Id="rId3" Type="http://schemas.openxmlformats.org/officeDocument/2006/relationships/tags" Target="../tags/tag196.xml"/><Relationship Id="rId7" Type="http://schemas.openxmlformats.org/officeDocument/2006/relationships/tags" Target="../tags/tag200.xml"/><Relationship Id="rId2" Type="http://schemas.openxmlformats.org/officeDocument/2006/relationships/tags" Target="../tags/tag195.xml"/><Relationship Id="rId1" Type="http://schemas.openxmlformats.org/officeDocument/2006/relationships/tags" Target="../tags/tag194.xml"/><Relationship Id="rId6" Type="http://schemas.openxmlformats.org/officeDocument/2006/relationships/tags" Target="../tags/tag199.xml"/><Relationship Id="rId11" Type="http://schemas.openxmlformats.org/officeDocument/2006/relationships/image" Target="../media/image3.emf"/><Relationship Id="rId5" Type="http://schemas.openxmlformats.org/officeDocument/2006/relationships/tags" Target="../tags/tag198.xml"/><Relationship Id="rId10" Type="http://schemas.openxmlformats.org/officeDocument/2006/relationships/oleObject" Target="../embeddings/oleObject24.bin"/><Relationship Id="rId4" Type="http://schemas.openxmlformats.org/officeDocument/2006/relationships/tags" Target="../tags/tag197.xml"/><Relationship Id="rId9"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9.xml"/><Relationship Id="rId3" Type="http://schemas.openxmlformats.org/officeDocument/2006/relationships/tags" Target="../tags/tag204.xml"/><Relationship Id="rId7" Type="http://schemas.openxmlformats.org/officeDocument/2006/relationships/tags" Target="../tags/tag208.xm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tags" Target="../tags/tag207.xml"/><Relationship Id="rId11" Type="http://schemas.openxmlformats.org/officeDocument/2006/relationships/image" Target="../media/image3.emf"/><Relationship Id="rId5" Type="http://schemas.openxmlformats.org/officeDocument/2006/relationships/tags" Target="../tags/tag206.xml"/><Relationship Id="rId10" Type="http://schemas.openxmlformats.org/officeDocument/2006/relationships/oleObject" Target="../embeddings/oleObject25.bin"/><Relationship Id="rId4" Type="http://schemas.openxmlformats.org/officeDocument/2006/relationships/tags" Target="../tags/tag205.xml"/><Relationship Id="rId9"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17.xml"/><Relationship Id="rId3" Type="http://schemas.openxmlformats.org/officeDocument/2006/relationships/tags" Target="../tags/tag212.xml"/><Relationship Id="rId7" Type="http://schemas.openxmlformats.org/officeDocument/2006/relationships/tags" Target="../tags/tag216.xml"/><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tags" Target="../tags/tag215.xml"/><Relationship Id="rId11" Type="http://schemas.openxmlformats.org/officeDocument/2006/relationships/image" Target="../media/image2.emf"/><Relationship Id="rId5" Type="http://schemas.openxmlformats.org/officeDocument/2006/relationships/tags" Target="../tags/tag214.xml"/><Relationship Id="rId10" Type="http://schemas.openxmlformats.org/officeDocument/2006/relationships/oleObject" Target="../embeddings/oleObject26.bin"/><Relationship Id="rId4" Type="http://schemas.openxmlformats.org/officeDocument/2006/relationships/tags" Target="../tags/tag213.xml"/><Relationship Id="rId9"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25.xml"/><Relationship Id="rId3" Type="http://schemas.openxmlformats.org/officeDocument/2006/relationships/tags" Target="../tags/tag220.xml"/><Relationship Id="rId7" Type="http://schemas.openxmlformats.org/officeDocument/2006/relationships/tags" Target="../tags/tag224.xml"/><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tags" Target="../tags/tag223.xml"/><Relationship Id="rId11" Type="http://schemas.openxmlformats.org/officeDocument/2006/relationships/image" Target="../media/image2.emf"/><Relationship Id="rId5" Type="http://schemas.openxmlformats.org/officeDocument/2006/relationships/tags" Target="../tags/tag222.xml"/><Relationship Id="rId10" Type="http://schemas.openxmlformats.org/officeDocument/2006/relationships/oleObject" Target="../embeddings/oleObject27.bin"/><Relationship Id="rId4" Type="http://schemas.openxmlformats.org/officeDocument/2006/relationships/tags" Target="../tags/tag221.xml"/><Relationship Id="rId9"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33.xml"/><Relationship Id="rId3" Type="http://schemas.openxmlformats.org/officeDocument/2006/relationships/tags" Target="../tags/tag228.xml"/><Relationship Id="rId7" Type="http://schemas.openxmlformats.org/officeDocument/2006/relationships/tags" Target="../tags/tag232.xml"/><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tags" Target="../tags/tag231.xml"/><Relationship Id="rId11" Type="http://schemas.openxmlformats.org/officeDocument/2006/relationships/image" Target="../media/image2.emf"/><Relationship Id="rId5" Type="http://schemas.openxmlformats.org/officeDocument/2006/relationships/tags" Target="../tags/tag230.xml"/><Relationship Id="rId10" Type="http://schemas.openxmlformats.org/officeDocument/2006/relationships/oleObject" Target="../embeddings/oleObject28.bin"/><Relationship Id="rId4" Type="http://schemas.openxmlformats.org/officeDocument/2006/relationships/tags" Target="../tags/tag229.xml"/><Relationship Id="rId9"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openxmlformats.org/officeDocument/2006/relationships/oleObject" Target="../embeddings/oleObject29.bin"/><Relationship Id="rId3" Type="http://schemas.openxmlformats.org/officeDocument/2006/relationships/tags" Target="../tags/tag236.xml"/><Relationship Id="rId7" Type="http://schemas.openxmlformats.org/officeDocument/2006/relationships/slideMaster" Target="../slideMasters/slideMaster2.xml"/><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tags" Target="../tags/tag239.xml"/><Relationship Id="rId5" Type="http://schemas.openxmlformats.org/officeDocument/2006/relationships/tags" Target="../tags/tag238.xml"/><Relationship Id="rId4" Type="http://schemas.openxmlformats.org/officeDocument/2006/relationships/tags" Target="../tags/tag237.xml"/><Relationship Id="rId9"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2.emf"/><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oleObject" Target="../embeddings/oleObject30.bin"/><Relationship Id="rId5" Type="http://schemas.openxmlformats.org/officeDocument/2006/relationships/slideMaster" Target="../slideMasters/slideMaster2.xml"/><Relationship Id="rId4" Type="http://schemas.openxmlformats.org/officeDocument/2006/relationships/tags" Target="../tags/tag24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5.xml"/><Relationship Id="rId1" Type="http://schemas.openxmlformats.org/officeDocument/2006/relationships/tags" Target="../tags/tag244.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45.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tags" Target="../tags/tag43.xml"/><Relationship Id="rId11" Type="http://schemas.openxmlformats.org/officeDocument/2006/relationships/image" Target="../media/image1.emf"/><Relationship Id="rId5" Type="http://schemas.openxmlformats.org/officeDocument/2006/relationships/tags" Target="../tags/tag42.xml"/><Relationship Id="rId10" Type="http://schemas.openxmlformats.org/officeDocument/2006/relationships/oleObject" Target="../embeddings/oleObject4.bin"/><Relationship Id="rId4" Type="http://schemas.openxmlformats.org/officeDocument/2006/relationships/tags" Target="../tags/tag41.xml"/><Relationship Id="rId9"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70.xml"/><Relationship Id="rId7" Type="http://schemas.openxmlformats.org/officeDocument/2006/relationships/tags" Target="../tags/tag274.xml"/><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tags" Target="../tags/tag273.xml"/><Relationship Id="rId5" Type="http://schemas.openxmlformats.org/officeDocument/2006/relationships/tags" Target="../tags/tag272.xml"/><Relationship Id="rId10" Type="http://schemas.openxmlformats.org/officeDocument/2006/relationships/image" Target="../media/image2.emf"/><Relationship Id="rId4" Type="http://schemas.openxmlformats.org/officeDocument/2006/relationships/tags" Target="../tags/tag271.xml"/><Relationship Id="rId9" Type="http://schemas.openxmlformats.org/officeDocument/2006/relationships/oleObject" Target="../embeddings/oleObject33.bin"/></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77.xml"/><Relationship Id="rId7" Type="http://schemas.openxmlformats.org/officeDocument/2006/relationships/tags" Target="../tags/tag281.xml"/><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tags" Target="../tags/tag280.xml"/><Relationship Id="rId5" Type="http://schemas.openxmlformats.org/officeDocument/2006/relationships/tags" Target="../tags/tag279.xml"/><Relationship Id="rId10" Type="http://schemas.openxmlformats.org/officeDocument/2006/relationships/image" Target="../media/image2.emf"/><Relationship Id="rId4" Type="http://schemas.openxmlformats.org/officeDocument/2006/relationships/tags" Target="../tags/tag278.xml"/><Relationship Id="rId9" Type="http://schemas.openxmlformats.org/officeDocument/2006/relationships/oleObject" Target="../embeddings/oleObject34.bin"/></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89.xml"/><Relationship Id="rId3" Type="http://schemas.openxmlformats.org/officeDocument/2006/relationships/tags" Target="../tags/tag284.xml"/><Relationship Id="rId7" Type="http://schemas.openxmlformats.org/officeDocument/2006/relationships/tags" Target="../tags/tag288.xml"/><Relationship Id="rId2" Type="http://schemas.openxmlformats.org/officeDocument/2006/relationships/tags" Target="../tags/tag283.xml"/><Relationship Id="rId1" Type="http://schemas.openxmlformats.org/officeDocument/2006/relationships/tags" Target="../tags/tag282.xml"/><Relationship Id="rId6" Type="http://schemas.openxmlformats.org/officeDocument/2006/relationships/tags" Target="../tags/tag287.xml"/><Relationship Id="rId11" Type="http://schemas.openxmlformats.org/officeDocument/2006/relationships/image" Target="../media/image1.emf"/><Relationship Id="rId5" Type="http://schemas.openxmlformats.org/officeDocument/2006/relationships/tags" Target="../tags/tag286.xml"/><Relationship Id="rId10" Type="http://schemas.openxmlformats.org/officeDocument/2006/relationships/oleObject" Target="../embeddings/oleObject35.bin"/><Relationship Id="rId4" Type="http://schemas.openxmlformats.org/officeDocument/2006/relationships/tags" Target="../tags/tag285.xml"/><Relationship Id="rId9"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92.xml"/><Relationship Id="rId7" Type="http://schemas.openxmlformats.org/officeDocument/2006/relationships/tags" Target="../tags/tag296.xml"/><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tags" Target="../tags/tag295.xml"/><Relationship Id="rId5" Type="http://schemas.openxmlformats.org/officeDocument/2006/relationships/tags" Target="../tags/tag294.xml"/><Relationship Id="rId10" Type="http://schemas.openxmlformats.org/officeDocument/2006/relationships/image" Target="../media/image2.emf"/><Relationship Id="rId4" Type="http://schemas.openxmlformats.org/officeDocument/2006/relationships/tags" Target="../tags/tag293.xml"/><Relationship Id="rId9" Type="http://schemas.openxmlformats.org/officeDocument/2006/relationships/oleObject" Target="../embeddings/oleObject36.bin"/></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99.xml"/><Relationship Id="rId7" Type="http://schemas.openxmlformats.org/officeDocument/2006/relationships/tags" Target="../tags/tag303.xml"/><Relationship Id="rId2" Type="http://schemas.openxmlformats.org/officeDocument/2006/relationships/tags" Target="../tags/tag298.xml"/><Relationship Id="rId1" Type="http://schemas.openxmlformats.org/officeDocument/2006/relationships/tags" Target="../tags/tag297.xml"/><Relationship Id="rId6" Type="http://schemas.openxmlformats.org/officeDocument/2006/relationships/tags" Target="../tags/tag302.xml"/><Relationship Id="rId5" Type="http://schemas.openxmlformats.org/officeDocument/2006/relationships/tags" Target="../tags/tag301.xml"/><Relationship Id="rId10" Type="http://schemas.openxmlformats.org/officeDocument/2006/relationships/image" Target="../media/image2.emf"/><Relationship Id="rId4" Type="http://schemas.openxmlformats.org/officeDocument/2006/relationships/tags" Target="../tags/tag300.xml"/><Relationship Id="rId9" Type="http://schemas.openxmlformats.org/officeDocument/2006/relationships/oleObject" Target="../embeddings/oleObject37.bin"/></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06.xml"/><Relationship Id="rId7" Type="http://schemas.openxmlformats.org/officeDocument/2006/relationships/tags" Target="../tags/tag310.xml"/><Relationship Id="rId2" Type="http://schemas.openxmlformats.org/officeDocument/2006/relationships/tags" Target="../tags/tag305.xml"/><Relationship Id="rId1" Type="http://schemas.openxmlformats.org/officeDocument/2006/relationships/tags" Target="../tags/tag304.xml"/><Relationship Id="rId6" Type="http://schemas.openxmlformats.org/officeDocument/2006/relationships/tags" Target="../tags/tag309.xml"/><Relationship Id="rId5" Type="http://schemas.openxmlformats.org/officeDocument/2006/relationships/tags" Target="../tags/tag308.xml"/><Relationship Id="rId10" Type="http://schemas.openxmlformats.org/officeDocument/2006/relationships/image" Target="../media/image2.emf"/><Relationship Id="rId4" Type="http://schemas.openxmlformats.org/officeDocument/2006/relationships/tags" Target="../tags/tag307.xml"/><Relationship Id="rId9" Type="http://schemas.openxmlformats.org/officeDocument/2006/relationships/oleObject" Target="../embeddings/oleObject38.bin"/></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318.xml"/><Relationship Id="rId3" Type="http://schemas.openxmlformats.org/officeDocument/2006/relationships/tags" Target="../tags/tag313.xml"/><Relationship Id="rId7" Type="http://schemas.openxmlformats.org/officeDocument/2006/relationships/tags" Target="../tags/tag317.xml"/><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tags" Target="../tags/tag316.xml"/><Relationship Id="rId11" Type="http://schemas.openxmlformats.org/officeDocument/2006/relationships/image" Target="../media/image2.emf"/><Relationship Id="rId5" Type="http://schemas.openxmlformats.org/officeDocument/2006/relationships/tags" Target="../tags/tag315.xml"/><Relationship Id="rId10" Type="http://schemas.openxmlformats.org/officeDocument/2006/relationships/oleObject" Target="../embeddings/oleObject39.bin"/><Relationship Id="rId4" Type="http://schemas.openxmlformats.org/officeDocument/2006/relationships/tags" Target="../tags/tag314.xml"/><Relationship Id="rId9"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326.xml"/><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image" Target="../media/image3.emf"/><Relationship Id="rId2" Type="http://schemas.openxmlformats.org/officeDocument/2006/relationships/tags" Target="../tags/tag320.xml"/><Relationship Id="rId1" Type="http://schemas.openxmlformats.org/officeDocument/2006/relationships/tags" Target="../tags/tag319.xml"/><Relationship Id="rId6" Type="http://schemas.openxmlformats.org/officeDocument/2006/relationships/tags" Target="../tags/tag324.xml"/><Relationship Id="rId11" Type="http://schemas.openxmlformats.org/officeDocument/2006/relationships/oleObject" Target="../embeddings/oleObject40.bin"/><Relationship Id="rId5" Type="http://schemas.openxmlformats.org/officeDocument/2006/relationships/tags" Target="../tags/tag323.xml"/><Relationship Id="rId10" Type="http://schemas.openxmlformats.org/officeDocument/2006/relationships/slideMaster" Target="../slideMasters/slideMaster3.xml"/><Relationship Id="rId4" Type="http://schemas.openxmlformats.org/officeDocument/2006/relationships/tags" Target="../tags/tag322.xml"/><Relationship Id="rId9" Type="http://schemas.openxmlformats.org/officeDocument/2006/relationships/tags" Target="../tags/tag327.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335.xml"/><Relationship Id="rId3" Type="http://schemas.openxmlformats.org/officeDocument/2006/relationships/tags" Target="../tags/tag330.xml"/><Relationship Id="rId7" Type="http://schemas.openxmlformats.org/officeDocument/2006/relationships/tags" Target="../tags/tag334.xml"/><Relationship Id="rId12" Type="http://schemas.openxmlformats.org/officeDocument/2006/relationships/image" Target="../media/image3.emf"/><Relationship Id="rId2" Type="http://schemas.openxmlformats.org/officeDocument/2006/relationships/tags" Target="../tags/tag329.xml"/><Relationship Id="rId1" Type="http://schemas.openxmlformats.org/officeDocument/2006/relationships/tags" Target="../tags/tag328.xml"/><Relationship Id="rId6" Type="http://schemas.openxmlformats.org/officeDocument/2006/relationships/tags" Target="../tags/tag333.xml"/><Relationship Id="rId11" Type="http://schemas.openxmlformats.org/officeDocument/2006/relationships/oleObject" Target="../embeddings/oleObject41.bin"/><Relationship Id="rId5" Type="http://schemas.openxmlformats.org/officeDocument/2006/relationships/tags" Target="../tags/tag332.xml"/><Relationship Id="rId10" Type="http://schemas.openxmlformats.org/officeDocument/2006/relationships/slideMaster" Target="../slideMasters/slideMaster3.xml"/><Relationship Id="rId4" Type="http://schemas.openxmlformats.org/officeDocument/2006/relationships/tags" Target="../tags/tag331.xml"/><Relationship Id="rId9" Type="http://schemas.openxmlformats.org/officeDocument/2006/relationships/tags" Target="../tags/tag336.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344.xml"/><Relationship Id="rId3" Type="http://schemas.openxmlformats.org/officeDocument/2006/relationships/tags" Target="../tags/tag339.xml"/><Relationship Id="rId7" Type="http://schemas.openxmlformats.org/officeDocument/2006/relationships/tags" Target="../tags/tag343.xml"/><Relationship Id="rId12" Type="http://schemas.openxmlformats.org/officeDocument/2006/relationships/image" Target="../media/image2.emf"/><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tags" Target="../tags/tag342.xml"/><Relationship Id="rId11" Type="http://schemas.openxmlformats.org/officeDocument/2006/relationships/oleObject" Target="../embeddings/oleObject42.bin"/><Relationship Id="rId5" Type="http://schemas.openxmlformats.org/officeDocument/2006/relationships/tags" Target="../tags/tag341.xml"/><Relationship Id="rId10" Type="http://schemas.openxmlformats.org/officeDocument/2006/relationships/slideMaster" Target="../slideMasters/slideMaster3.xml"/><Relationship Id="rId4" Type="http://schemas.openxmlformats.org/officeDocument/2006/relationships/tags" Target="../tags/tag340.xml"/><Relationship Id="rId9" Type="http://schemas.openxmlformats.org/officeDocument/2006/relationships/tags" Target="../tags/tag345.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tags" Target="../tags/tag51.xml"/><Relationship Id="rId5" Type="http://schemas.openxmlformats.org/officeDocument/2006/relationships/tags" Target="../tags/tag50.xml"/><Relationship Id="rId10" Type="http://schemas.openxmlformats.org/officeDocument/2006/relationships/image" Target="../media/image2.emf"/><Relationship Id="rId4" Type="http://schemas.openxmlformats.org/officeDocument/2006/relationships/tags" Target="../tags/tag49.xml"/><Relationship Id="rId9"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353.xml"/><Relationship Id="rId3" Type="http://schemas.openxmlformats.org/officeDocument/2006/relationships/tags" Target="../tags/tag348.xml"/><Relationship Id="rId7" Type="http://schemas.openxmlformats.org/officeDocument/2006/relationships/tags" Target="../tags/tag352.xml"/><Relationship Id="rId12" Type="http://schemas.openxmlformats.org/officeDocument/2006/relationships/image" Target="../media/image2.emf"/><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tags" Target="../tags/tag351.xml"/><Relationship Id="rId11" Type="http://schemas.openxmlformats.org/officeDocument/2006/relationships/oleObject" Target="../embeddings/oleObject43.bin"/><Relationship Id="rId5" Type="http://schemas.openxmlformats.org/officeDocument/2006/relationships/tags" Target="../tags/tag350.xml"/><Relationship Id="rId10" Type="http://schemas.openxmlformats.org/officeDocument/2006/relationships/slideMaster" Target="../slideMasters/slideMaster3.xml"/><Relationship Id="rId4" Type="http://schemas.openxmlformats.org/officeDocument/2006/relationships/tags" Target="../tags/tag349.xml"/><Relationship Id="rId9" Type="http://schemas.openxmlformats.org/officeDocument/2006/relationships/tags" Target="../tags/tag354.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362.xml"/><Relationship Id="rId3" Type="http://schemas.openxmlformats.org/officeDocument/2006/relationships/tags" Target="../tags/tag357.xml"/><Relationship Id="rId7" Type="http://schemas.openxmlformats.org/officeDocument/2006/relationships/tags" Target="../tags/tag361.xml"/><Relationship Id="rId12" Type="http://schemas.openxmlformats.org/officeDocument/2006/relationships/image" Target="../media/image3.emf"/><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tags" Target="../tags/tag360.xml"/><Relationship Id="rId11" Type="http://schemas.openxmlformats.org/officeDocument/2006/relationships/oleObject" Target="../embeddings/oleObject44.bin"/><Relationship Id="rId5" Type="http://schemas.openxmlformats.org/officeDocument/2006/relationships/tags" Target="../tags/tag359.xml"/><Relationship Id="rId10" Type="http://schemas.openxmlformats.org/officeDocument/2006/relationships/slideMaster" Target="../slideMasters/slideMaster3.xml"/><Relationship Id="rId4" Type="http://schemas.openxmlformats.org/officeDocument/2006/relationships/tags" Target="../tags/tag358.xml"/><Relationship Id="rId9" Type="http://schemas.openxmlformats.org/officeDocument/2006/relationships/tags" Target="../tags/tag363.xml"/></Relationships>
</file>

<file path=ppt/slideLayouts/_rels/slideLayout42.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66.xml"/><Relationship Id="rId7" Type="http://schemas.openxmlformats.org/officeDocument/2006/relationships/tags" Target="../tags/tag370.xml"/><Relationship Id="rId2" Type="http://schemas.openxmlformats.org/officeDocument/2006/relationships/tags" Target="../tags/tag365.xml"/><Relationship Id="rId1" Type="http://schemas.openxmlformats.org/officeDocument/2006/relationships/tags" Target="../tags/tag364.xml"/><Relationship Id="rId6" Type="http://schemas.openxmlformats.org/officeDocument/2006/relationships/tags" Target="../tags/tag369.xml"/><Relationship Id="rId5" Type="http://schemas.openxmlformats.org/officeDocument/2006/relationships/tags" Target="../tags/tag368.xml"/><Relationship Id="rId10" Type="http://schemas.openxmlformats.org/officeDocument/2006/relationships/image" Target="../media/image1.emf"/><Relationship Id="rId4" Type="http://schemas.openxmlformats.org/officeDocument/2006/relationships/tags" Target="../tags/tag367.xml"/><Relationship Id="rId9" Type="http://schemas.openxmlformats.org/officeDocument/2006/relationships/oleObject" Target="../embeddings/oleObject45.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73.xml"/><Relationship Id="rId7" Type="http://schemas.openxmlformats.org/officeDocument/2006/relationships/oleObject" Target="../embeddings/oleObject46.bin"/><Relationship Id="rId2" Type="http://schemas.openxmlformats.org/officeDocument/2006/relationships/tags" Target="../tags/tag372.xml"/><Relationship Id="rId1" Type="http://schemas.openxmlformats.org/officeDocument/2006/relationships/tags" Target="../tags/tag371.xml"/><Relationship Id="rId6" Type="http://schemas.openxmlformats.org/officeDocument/2006/relationships/slideMaster" Target="../slideMasters/slideMaster3.xml"/><Relationship Id="rId5" Type="http://schemas.openxmlformats.org/officeDocument/2006/relationships/tags" Target="../tags/tag375.xml"/><Relationship Id="rId4" Type="http://schemas.openxmlformats.org/officeDocument/2006/relationships/tags" Target="../tags/tag374.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tags" Target="../tags/tag376.x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81.xml"/><Relationship Id="rId2" Type="http://schemas.openxmlformats.org/officeDocument/2006/relationships/tags" Target="../tags/tag380.xml"/><Relationship Id="rId1" Type="http://schemas.openxmlformats.org/officeDocument/2006/relationships/tags" Target="../tags/tag379.xml"/><Relationship Id="rId6" Type="http://schemas.openxmlformats.org/officeDocument/2006/relationships/image" Target="../media/image4.emf"/><Relationship Id="rId5" Type="http://schemas.openxmlformats.org/officeDocument/2006/relationships/oleObject" Target="../embeddings/oleObject48.bin"/><Relationship Id="rId4"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3.xml"/><Relationship Id="rId1" Type="http://schemas.openxmlformats.org/officeDocument/2006/relationships/tags" Target="../tags/tag382.xml"/><Relationship Id="rId5" Type="http://schemas.openxmlformats.org/officeDocument/2006/relationships/image" Target="../media/image5.emf"/><Relationship Id="rId4" Type="http://schemas.openxmlformats.org/officeDocument/2006/relationships/oleObject" Target="../embeddings/oleObject49.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07.xml"/><Relationship Id="rId7" Type="http://schemas.openxmlformats.org/officeDocument/2006/relationships/tags" Target="../tags/tag411.xml"/><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tags" Target="../tags/tag410.xml"/><Relationship Id="rId5" Type="http://schemas.openxmlformats.org/officeDocument/2006/relationships/tags" Target="../tags/tag409.xml"/><Relationship Id="rId10" Type="http://schemas.openxmlformats.org/officeDocument/2006/relationships/image" Target="../media/image2.emf"/><Relationship Id="rId4" Type="http://schemas.openxmlformats.org/officeDocument/2006/relationships/tags" Target="../tags/tag408.xml"/><Relationship Id="rId9" Type="http://schemas.openxmlformats.org/officeDocument/2006/relationships/oleObject" Target="../embeddings/oleObject51.bin"/></Relationships>
</file>

<file path=ppt/slideLayouts/_rels/slideLayout4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14.xml"/><Relationship Id="rId7" Type="http://schemas.openxmlformats.org/officeDocument/2006/relationships/tags" Target="../tags/tag418.xml"/><Relationship Id="rId2" Type="http://schemas.openxmlformats.org/officeDocument/2006/relationships/tags" Target="../tags/tag413.xml"/><Relationship Id="rId1" Type="http://schemas.openxmlformats.org/officeDocument/2006/relationships/tags" Target="../tags/tag412.xml"/><Relationship Id="rId6" Type="http://schemas.openxmlformats.org/officeDocument/2006/relationships/tags" Target="../tags/tag417.xml"/><Relationship Id="rId5" Type="http://schemas.openxmlformats.org/officeDocument/2006/relationships/tags" Target="../tags/tag416.xml"/><Relationship Id="rId10" Type="http://schemas.openxmlformats.org/officeDocument/2006/relationships/image" Target="../media/image1.emf"/><Relationship Id="rId4" Type="http://schemas.openxmlformats.org/officeDocument/2006/relationships/tags" Target="../tags/tag415.xml"/><Relationship Id="rId9" Type="http://schemas.openxmlformats.org/officeDocument/2006/relationships/oleObject" Target="../embeddings/oleObject52.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10" Type="http://schemas.openxmlformats.org/officeDocument/2006/relationships/image" Target="../media/image2.emf"/><Relationship Id="rId4" Type="http://schemas.openxmlformats.org/officeDocument/2006/relationships/tags" Target="../tags/tag56.xml"/><Relationship Id="rId9"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53.bin"/><Relationship Id="rId3" Type="http://schemas.openxmlformats.org/officeDocument/2006/relationships/tags" Target="../tags/tag421.xml"/><Relationship Id="rId7" Type="http://schemas.openxmlformats.org/officeDocument/2006/relationships/slideMaster" Target="../slideMasters/slideMaster4.xml"/><Relationship Id="rId2" Type="http://schemas.openxmlformats.org/officeDocument/2006/relationships/tags" Target="../tags/tag420.xml"/><Relationship Id="rId1" Type="http://schemas.openxmlformats.org/officeDocument/2006/relationships/tags" Target="../tags/tag419.xml"/><Relationship Id="rId6" Type="http://schemas.openxmlformats.org/officeDocument/2006/relationships/tags" Target="../tags/tag424.xml"/><Relationship Id="rId5" Type="http://schemas.openxmlformats.org/officeDocument/2006/relationships/tags" Target="../tags/tag423.xml"/><Relationship Id="rId4" Type="http://schemas.openxmlformats.org/officeDocument/2006/relationships/tags" Target="../tags/tag422.xml"/><Relationship Id="rId9" Type="http://schemas.openxmlformats.org/officeDocument/2006/relationships/image" Target="../media/image2.emf"/></Relationships>
</file>

<file path=ppt/slideLayouts/_rels/slideLayout5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27.xml"/><Relationship Id="rId7" Type="http://schemas.openxmlformats.org/officeDocument/2006/relationships/tags" Target="../tags/tag431.xml"/><Relationship Id="rId2" Type="http://schemas.openxmlformats.org/officeDocument/2006/relationships/tags" Target="../tags/tag426.xml"/><Relationship Id="rId1" Type="http://schemas.openxmlformats.org/officeDocument/2006/relationships/tags" Target="../tags/tag425.xml"/><Relationship Id="rId6" Type="http://schemas.openxmlformats.org/officeDocument/2006/relationships/tags" Target="../tags/tag430.xml"/><Relationship Id="rId5" Type="http://schemas.openxmlformats.org/officeDocument/2006/relationships/tags" Target="../tags/tag429.xml"/><Relationship Id="rId10" Type="http://schemas.openxmlformats.org/officeDocument/2006/relationships/image" Target="../media/image2.emf"/><Relationship Id="rId4" Type="http://schemas.openxmlformats.org/officeDocument/2006/relationships/tags" Target="../tags/tag428.xml"/><Relationship Id="rId9" Type="http://schemas.openxmlformats.org/officeDocument/2006/relationships/oleObject" Target="../embeddings/oleObject54.bin"/></Relationships>
</file>

<file path=ppt/slideLayouts/_rels/slideLayout52.xml.rels><?xml version="1.0" encoding="UTF-8" standalone="yes"?>
<Relationships xmlns="http://schemas.openxmlformats.org/package/2006/relationships"><Relationship Id="rId8" Type="http://schemas.openxmlformats.org/officeDocument/2006/relationships/oleObject" Target="../embeddings/oleObject55.bin"/><Relationship Id="rId3" Type="http://schemas.openxmlformats.org/officeDocument/2006/relationships/tags" Target="../tags/tag434.xml"/><Relationship Id="rId7" Type="http://schemas.openxmlformats.org/officeDocument/2006/relationships/slideMaster" Target="../slideMasters/slideMaster4.xml"/><Relationship Id="rId2" Type="http://schemas.openxmlformats.org/officeDocument/2006/relationships/tags" Target="../tags/tag433.xml"/><Relationship Id="rId1" Type="http://schemas.openxmlformats.org/officeDocument/2006/relationships/tags" Target="../tags/tag432.xml"/><Relationship Id="rId6" Type="http://schemas.openxmlformats.org/officeDocument/2006/relationships/tags" Target="../tags/tag437.xml"/><Relationship Id="rId5" Type="http://schemas.openxmlformats.org/officeDocument/2006/relationships/tags" Target="../tags/tag436.xml"/><Relationship Id="rId4" Type="http://schemas.openxmlformats.org/officeDocument/2006/relationships/tags" Target="../tags/tag435.xml"/><Relationship Id="rId9"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40.xml"/><Relationship Id="rId7" Type="http://schemas.openxmlformats.org/officeDocument/2006/relationships/tags" Target="../tags/tag444.xml"/><Relationship Id="rId2" Type="http://schemas.openxmlformats.org/officeDocument/2006/relationships/tags" Target="../tags/tag439.xml"/><Relationship Id="rId1" Type="http://schemas.openxmlformats.org/officeDocument/2006/relationships/tags" Target="../tags/tag438.xml"/><Relationship Id="rId6" Type="http://schemas.openxmlformats.org/officeDocument/2006/relationships/tags" Target="../tags/tag443.xml"/><Relationship Id="rId5" Type="http://schemas.openxmlformats.org/officeDocument/2006/relationships/tags" Target="../tags/tag442.xml"/><Relationship Id="rId10" Type="http://schemas.openxmlformats.org/officeDocument/2006/relationships/image" Target="../media/image2.emf"/><Relationship Id="rId4" Type="http://schemas.openxmlformats.org/officeDocument/2006/relationships/tags" Target="../tags/tag441.xml"/><Relationship Id="rId9" Type="http://schemas.openxmlformats.org/officeDocument/2006/relationships/oleObject" Target="../embeddings/oleObject56.bin"/></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452.xml"/><Relationship Id="rId3" Type="http://schemas.openxmlformats.org/officeDocument/2006/relationships/tags" Target="../tags/tag447.xml"/><Relationship Id="rId7" Type="http://schemas.openxmlformats.org/officeDocument/2006/relationships/tags" Target="../tags/tag451.xml"/><Relationship Id="rId2" Type="http://schemas.openxmlformats.org/officeDocument/2006/relationships/tags" Target="../tags/tag446.xml"/><Relationship Id="rId1" Type="http://schemas.openxmlformats.org/officeDocument/2006/relationships/tags" Target="../tags/tag445.xml"/><Relationship Id="rId6" Type="http://schemas.openxmlformats.org/officeDocument/2006/relationships/tags" Target="../tags/tag450.xml"/><Relationship Id="rId11" Type="http://schemas.openxmlformats.org/officeDocument/2006/relationships/image" Target="../media/image3.emf"/><Relationship Id="rId5" Type="http://schemas.openxmlformats.org/officeDocument/2006/relationships/tags" Target="../tags/tag449.xml"/><Relationship Id="rId10" Type="http://schemas.openxmlformats.org/officeDocument/2006/relationships/oleObject" Target="../embeddings/oleObject57.bin"/><Relationship Id="rId4" Type="http://schemas.openxmlformats.org/officeDocument/2006/relationships/tags" Target="../tags/tag448.xml"/><Relationship Id="rId9"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8" Type="http://schemas.openxmlformats.org/officeDocument/2006/relationships/tags" Target="../tags/tag460.xml"/><Relationship Id="rId3" Type="http://schemas.openxmlformats.org/officeDocument/2006/relationships/tags" Target="../tags/tag455.xml"/><Relationship Id="rId7" Type="http://schemas.openxmlformats.org/officeDocument/2006/relationships/tags" Target="../tags/tag459.xml"/><Relationship Id="rId2" Type="http://schemas.openxmlformats.org/officeDocument/2006/relationships/tags" Target="../tags/tag454.xml"/><Relationship Id="rId1" Type="http://schemas.openxmlformats.org/officeDocument/2006/relationships/tags" Target="../tags/tag453.xml"/><Relationship Id="rId6" Type="http://schemas.openxmlformats.org/officeDocument/2006/relationships/tags" Target="../tags/tag458.xml"/><Relationship Id="rId11" Type="http://schemas.openxmlformats.org/officeDocument/2006/relationships/image" Target="../media/image3.emf"/><Relationship Id="rId5" Type="http://schemas.openxmlformats.org/officeDocument/2006/relationships/tags" Target="../tags/tag457.xml"/><Relationship Id="rId10" Type="http://schemas.openxmlformats.org/officeDocument/2006/relationships/oleObject" Target="../embeddings/oleObject58.bin"/><Relationship Id="rId4" Type="http://schemas.openxmlformats.org/officeDocument/2006/relationships/tags" Target="../tags/tag456.xml"/><Relationship Id="rId9"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tags" Target="../tags/tag468.xml"/><Relationship Id="rId3" Type="http://schemas.openxmlformats.org/officeDocument/2006/relationships/tags" Target="../tags/tag463.xml"/><Relationship Id="rId7" Type="http://schemas.openxmlformats.org/officeDocument/2006/relationships/tags" Target="../tags/tag467.xml"/><Relationship Id="rId2" Type="http://schemas.openxmlformats.org/officeDocument/2006/relationships/tags" Target="../tags/tag462.xml"/><Relationship Id="rId1" Type="http://schemas.openxmlformats.org/officeDocument/2006/relationships/tags" Target="../tags/tag461.xml"/><Relationship Id="rId6" Type="http://schemas.openxmlformats.org/officeDocument/2006/relationships/tags" Target="../tags/tag466.xml"/><Relationship Id="rId11" Type="http://schemas.openxmlformats.org/officeDocument/2006/relationships/image" Target="../media/image2.emf"/><Relationship Id="rId5" Type="http://schemas.openxmlformats.org/officeDocument/2006/relationships/tags" Target="../tags/tag465.xml"/><Relationship Id="rId10" Type="http://schemas.openxmlformats.org/officeDocument/2006/relationships/oleObject" Target="../embeddings/oleObject59.bin"/><Relationship Id="rId4" Type="http://schemas.openxmlformats.org/officeDocument/2006/relationships/tags" Target="../tags/tag464.xml"/><Relationship Id="rId9"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476.xml"/><Relationship Id="rId3" Type="http://schemas.openxmlformats.org/officeDocument/2006/relationships/tags" Target="../tags/tag471.xml"/><Relationship Id="rId7" Type="http://schemas.openxmlformats.org/officeDocument/2006/relationships/tags" Target="../tags/tag475.xml"/><Relationship Id="rId2" Type="http://schemas.openxmlformats.org/officeDocument/2006/relationships/tags" Target="../tags/tag470.xml"/><Relationship Id="rId1" Type="http://schemas.openxmlformats.org/officeDocument/2006/relationships/tags" Target="../tags/tag469.xml"/><Relationship Id="rId6" Type="http://schemas.openxmlformats.org/officeDocument/2006/relationships/tags" Target="../tags/tag474.xml"/><Relationship Id="rId11" Type="http://schemas.openxmlformats.org/officeDocument/2006/relationships/image" Target="../media/image2.emf"/><Relationship Id="rId5" Type="http://schemas.openxmlformats.org/officeDocument/2006/relationships/tags" Target="../tags/tag473.xml"/><Relationship Id="rId10" Type="http://schemas.openxmlformats.org/officeDocument/2006/relationships/oleObject" Target="../embeddings/oleObject60.bin"/><Relationship Id="rId4" Type="http://schemas.openxmlformats.org/officeDocument/2006/relationships/tags" Target="../tags/tag472.xml"/><Relationship Id="rId9"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484.xml"/><Relationship Id="rId3" Type="http://schemas.openxmlformats.org/officeDocument/2006/relationships/tags" Target="../tags/tag479.xml"/><Relationship Id="rId7" Type="http://schemas.openxmlformats.org/officeDocument/2006/relationships/tags" Target="../tags/tag483.xml"/><Relationship Id="rId2" Type="http://schemas.openxmlformats.org/officeDocument/2006/relationships/tags" Target="../tags/tag478.xml"/><Relationship Id="rId1" Type="http://schemas.openxmlformats.org/officeDocument/2006/relationships/tags" Target="../tags/tag477.xml"/><Relationship Id="rId6" Type="http://schemas.openxmlformats.org/officeDocument/2006/relationships/tags" Target="../tags/tag482.xml"/><Relationship Id="rId11" Type="http://schemas.openxmlformats.org/officeDocument/2006/relationships/image" Target="../media/image3.emf"/><Relationship Id="rId5" Type="http://schemas.openxmlformats.org/officeDocument/2006/relationships/tags" Target="../tags/tag481.xml"/><Relationship Id="rId10" Type="http://schemas.openxmlformats.org/officeDocument/2006/relationships/oleObject" Target="../embeddings/oleObject61.bin"/><Relationship Id="rId4" Type="http://schemas.openxmlformats.org/officeDocument/2006/relationships/tags" Target="../tags/tag480.xml"/><Relationship Id="rId9"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8" Type="http://schemas.openxmlformats.org/officeDocument/2006/relationships/oleObject" Target="../embeddings/oleObject62.bin"/><Relationship Id="rId3" Type="http://schemas.openxmlformats.org/officeDocument/2006/relationships/tags" Target="../tags/tag487.xml"/><Relationship Id="rId7" Type="http://schemas.openxmlformats.org/officeDocument/2006/relationships/slideMaster" Target="../slideMasters/slideMaster4.xml"/><Relationship Id="rId2" Type="http://schemas.openxmlformats.org/officeDocument/2006/relationships/tags" Target="../tags/tag486.xml"/><Relationship Id="rId1" Type="http://schemas.openxmlformats.org/officeDocument/2006/relationships/tags" Target="../tags/tag485.xml"/><Relationship Id="rId6" Type="http://schemas.openxmlformats.org/officeDocument/2006/relationships/tags" Target="../tags/tag490.xml"/><Relationship Id="rId5" Type="http://schemas.openxmlformats.org/officeDocument/2006/relationships/tags" Target="../tags/tag489.xml"/><Relationship Id="rId4" Type="http://schemas.openxmlformats.org/officeDocument/2006/relationships/tags" Target="../tags/tag488.xml"/><Relationship Id="rId9"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2.xml"/><Relationship Id="rId7" Type="http://schemas.openxmlformats.org/officeDocument/2006/relationships/tags" Target="../tags/tag66.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5" Type="http://schemas.openxmlformats.org/officeDocument/2006/relationships/tags" Target="../tags/tag64.xml"/><Relationship Id="rId10" Type="http://schemas.openxmlformats.org/officeDocument/2006/relationships/image" Target="../media/image2.emf"/><Relationship Id="rId4" Type="http://schemas.openxmlformats.org/officeDocument/2006/relationships/tags" Target="../tags/tag63.xml"/><Relationship Id="rId9"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493.xml"/><Relationship Id="rId7" Type="http://schemas.openxmlformats.org/officeDocument/2006/relationships/image" Target="../media/image2.emf"/><Relationship Id="rId2" Type="http://schemas.openxmlformats.org/officeDocument/2006/relationships/tags" Target="../tags/tag492.xml"/><Relationship Id="rId1" Type="http://schemas.openxmlformats.org/officeDocument/2006/relationships/tags" Target="../tags/tag491.xml"/><Relationship Id="rId6" Type="http://schemas.openxmlformats.org/officeDocument/2006/relationships/oleObject" Target="../embeddings/oleObject63.bin"/><Relationship Id="rId5" Type="http://schemas.openxmlformats.org/officeDocument/2006/relationships/slideMaster" Target="../slideMasters/slideMaster4.xml"/><Relationship Id="rId4" Type="http://schemas.openxmlformats.org/officeDocument/2006/relationships/tags" Target="../tags/tag494.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497.xml"/><Relationship Id="rId2" Type="http://schemas.openxmlformats.org/officeDocument/2006/relationships/tags" Target="../tags/tag496.xml"/><Relationship Id="rId1" Type="http://schemas.openxmlformats.org/officeDocument/2006/relationships/tags" Target="../tags/tag495.x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22.xml"/><Relationship Id="rId7" Type="http://schemas.openxmlformats.org/officeDocument/2006/relationships/tags" Target="../tags/tag526.xml"/><Relationship Id="rId2" Type="http://schemas.openxmlformats.org/officeDocument/2006/relationships/tags" Target="../tags/tag521.xml"/><Relationship Id="rId1" Type="http://schemas.openxmlformats.org/officeDocument/2006/relationships/tags" Target="../tags/tag520.xml"/><Relationship Id="rId6" Type="http://schemas.openxmlformats.org/officeDocument/2006/relationships/tags" Target="../tags/tag525.xml"/><Relationship Id="rId5" Type="http://schemas.openxmlformats.org/officeDocument/2006/relationships/tags" Target="../tags/tag524.xml"/><Relationship Id="rId10" Type="http://schemas.openxmlformats.org/officeDocument/2006/relationships/image" Target="../media/image2.emf"/><Relationship Id="rId4" Type="http://schemas.openxmlformats.org/officeDocument/2006/relationships/tags" Target="../tags/tag523.xml"/><Relationship Id="rId9" Type="http://schemas.openxmlformats.org/officeDocument/2006/relationships/oleObject" Target="../embeddings/oleObject66.bin"/></Relationships>
</file>

<file path=ppt/slideLayouts/_rels/slideLayout6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29.xml"/><Relationship Id="rId7" Type="http://schemas.openxmlformats.org/officeDocument/2006/relationships/tags" Target="../tags/tag533.xml"/><Relationship Id="rId2" Type="http://schemas.openxmlformats.org/officeDocument/2006/relationships/tags" Target="../tags/tag528.xml"/><Relationship Id="rId1" Type="http://schemas.openxmlformats.org/officeDocument/2006/relationships/tags" Target="../tags/tag527.xml"/><Relationship Id="rId6" Type="http://schemas.openxmlformats.org/officeDocument/2006/relationships/tags" Target="../tags/tag532.xml"/><Relationship Id="rId5" Type="http://schemas.openxmlformats.org/officeDocument/2006/relationships/tags" Target="../tags/tag531.xml"/><Relationship Id="rId10" Type="http://schemas.openxmlformats.org/officeDocument/2006/relationships/image" Target="../media/image2.emf"/><Relationship Id="rId4" Type="http://schemas.openxmlformats.org/officeDocument/2006/relationships/tags" Target="../tags/tag530.xml"/><Relationship Id="rId9" Type="http://schemas.openxmlformats.org/officeDocument/2006/relationships/oleObject" Target="../embeddings/oleObject67.bin"/></Relationships>
</file>

<file path=ppt/slideLayouts/_rels/slideLayout64.xml.rels><?xml version="1.0" encoding="UTF-8" standalone="yes"?>
<Relationships xmlns="http://schemas.openxmlformats.org/package/2006/relationships"><Relationship Id="rId8" Type="http://schemas.openxmlformats.org/officeDocument/2006/relationships/tags" Target="../tags/tag541.xml"/><Relationship Id="rId3" Type="http://schemas.openxmlformats.org/officeDocument/2006/relationships/tags" Target="../tags/tag536.xml"/><Relationship Id="rId7" Type="http://schemas.openxmlformats.org/officeDocument/2006/relationships/tags" Target="../tags/tag540.xml"/><Relationship Id="rId2" Type="http://schemas.openxmlformats.org/officeDocument/2006/relationships/tags" Target="../tags/tag535.xml"/><Relationship Id="rId1" Type="http://schemas.openxmlformats.org/officeDocument/2006/relationships/tags" Target="../tags/tag534.xml"/><Relationship Id="rId6" Type="http://schemas.openxmlformats.org/officeDocument/2006/relationships/tags" Target="../tags/tag539.xml"/><Relationship Id="rId11" Type="http://schemas.openxmlformats.org/officeDocument/2006/relationships/image" Target="../media/image1.emf"/><Relationship Id="rId5" Type="http://schemas.openxmlformats.org/officeDocument/2006/relationships/tags" Target="../tags/tag538.xml"/><Relationship Id="rId10" Type="http://schemas.openxmlformats.org/officeDocument/2006/relationships/oleObject" Target="../embeddings/oleObject68.bin"/><Relationship Id="rId4" Type="http://schemas.openxmlformats.org/officeDocument/2006/relationships/tags" Target="../tags/tag537.xml"/><Relationship Id="rId9"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44.xml"/><Relationship Id="rId7" Type="http://schemas.openxmlformats.org/officeDocument/2006/relationships/tags" Target="../tags/tag548.xml"/><Relationship Id="rId2" Type="http://schemas.openxmlformats.org/officeDocument/2006/relationships/tags" Target="../tags/tag543.xml"/><Relationship Id="rId1" Type="http://schemas.openxmlformats.org/officeDocument/2006/relationships/tags" Target="../tags/tag542.xml"/><Relationship Id="rId6" Type="http://schemas.openxmlformats.org/officeDocument/2006/relationships/tags" Target="../tags/tag547.xml"/><Relationship Id="rId5" Type="http://schemas.openxmlformats.org/officeDocument/2006/relationships/tags" Target="../tags/tag546.xml"/><Relationship Id="rId10" Type="http://schemas.openxmlformats.org/officeDocument/2006/relationships/image" Target="../media/image2.emf"/><Relationship Id="rId4" Type="http://schemas.openxmlformats.org/officeDocument/2006/relationships/tags" Target="../tags/tag545.xml"/><Relationship Id="rId9" Type="http://schemas.openxmlformats.org/officeDocument/2006/relationships/oleObject" Target="../embeddings/oleObject69.bin"/></Relationships>
</file>

<file path=ppt/slideLayouts/_rels/slideLayout66.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51.xml"/><Relationship Id="rId7" Type="http://schemas.openxmlformats.org/officeDocument/2006/relationships/tags" Target="../tags/tag555.xml"/><Relationship Id="rId2" Type="http://schemas.openxmlformats.org/officeDocument/2006/relationships/tags" Target="../tags/tag550.xml"/><Relationship Id="rId1" Type="http://schemas.openxmlformats.org/officeDocument/2006/relationships/tags" Target="../tags/tag549.xml"/><Relationship Id="rId6" Type="http://schemas.openxmlformats.org/officeDocument/2006/relationships/tags" Target="../tags/tag554.xml"/><Relationship Id="rId5" Type="http://schemas.openxmlformats.org/officeDocument/2006/relationships/tags" Target="../tags/tag553.xml"/><Relationship Id="rId10" Type="http://schemas.openxmlformats.org/officeDocument/2006/relationships/image" Target="../media/image2.emf"/><Relationship Id="rId4" Type="http://schemas.openxmlformats.org/officeDocument/2006/relationships/tags" Target="../tags/tag552.xml"/><Relationship Id="rId9" Type="http://schemas.openxmlformats.org/officeDocument/2006/relationships/oleObject" Target="../embeddings/oleObject70.bin"/></Relationships>
</file>

<file path=ppt/slideLayouts/_rels/slideLayout6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58.xml"/><Relationship Id="rId7" Type="http://schemas.openxmlformats.org/officeDocument/2006/relationships/tags" Target="../tags/tag562.xml"/><Relationship Id="rId2" Type="http://schemas.openxmlformats.org/officeDocument/2006/relationships/tags" Target="../tags/tag557.xml"/><Relationship Id="rId1" Type="http://schemas.openxmlformats.org/officeDocument/2006/relationships/tags" Target="../tags/tag556.xml"/><Relationship Id="rId6" Type="http://schemas.openxmlformats.org/officeDocument/2006/relationships/tags" Target="../tags/tag561.xml"/><Relationship Id="rId5" Type="http://schemas.openxmlformats.org/officeDocument/2006/relationships/tags" Target="../tags/tag560.xml"/><Relationship Id="rId10" Type="http://schemas.openxmlformats.org/officeDocument/2006/relationships/image" Target="../media/image2.emf"/><Relationship Id="rId4" Type="http://schemas.openxmlformats.org/officeDocument/2006/relationships/tags" Target="../tags/tag559.xml"/><Relationship Id="rId9" Type="http://schemas.openxmlformats.org/officeDocument/2006/relationships/oleObject" Target="../embeddings/oleObject71.bin"/></Relationships>
</file>

<file path=ppt/slideLayouts/_rels/slideLayout68.xml.rels><?xml version="1.0" encoding="UTF-8" standalone="yes"?>
<Relationships xmlns="http://schemas.openxmlformats.org/package/2006/relationships"><Relationship Id="rId8" Type="http://schemas.openxmlformats.org/officeDocument/2006/relationships/tags" Target="../tags/tag570.xml"/><Relationship Id="rId3" Type="http://schemas.openxmlformats.org/officeDocument/2006/relationships/tags" Target="../tags/tag565.xml"/><Relationship Id="rId7" Type="http://schemas.openxmlformats.org/officeDocument/2006/relationships/tags" Target="../tags/tag569.xml"/><Relationship Id="rId2" Type="http://schemas.openxmlformats.org/officeDocument/2006/relationships/tags" Target="../tags/tag564.xml"/><Relationship Id="rId1" Type="http://schemas.openxmlformats.org/officeDocument/2006/relationships/tags" Target="../tags/tag563.xml"/><Relationship Id="rId6" Type="http://schemas.openxmlformats.org/officeDocument/2006/relationships/tags" Target="../tags/tag568.xml"/><Relationship Id="rId11" Type="http://schemas.openxmlformats.org/officeDocument/2006/relationships/image" Target="../media/image2.emf"/><Relationship Id="rId5" Type="http://schemas.openxmlformats.org/officeDocument/2006/relationships/tags" Target="../tags/tag567.xml"/><Relationship Id="rId10" Type="http://schemas.openxmlformats.org/officeDocument/2006/relationships/oleObject" Target="../embeddings/oleObject72.bin"/><Relationship Id="rId4" Type="http://schemas.openxmlformats.org/officeDocument/2006/relationships/tags" Target="../tags/tag566.xml"/><Relationship Id="rId9"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578.xml"/><Relationship Id="rId3" Type="http://schemas.openxmlformats.org/officeDocument/2006/relationships/tags" Target="../tags/tag573.xml"/><Relationship Id="rId7" Type="http://schemas.openxmlformats.org/officeDocument/2006/relationships/tags" Target="../tags/tag577.xml"/><Relationship Id="rId12" Type="http://schemas.openxmlformats.org/officeDocument/2006/relationships/image" Target="../media/image3.emf"/><Relationship Id="rId2" Type="http://schemas.openxmlformats.org/officeDocument/2006/relationships/tags" Target="../tags/tag572.xml"/><Relationship Id="rId1" Type="http://schemas.openxmlformats.org/officeDocument/2006/relationships/tags" Target="../tags/tag571.xml"/><Relationship Id="rId6" Type="http://schemas.openxmlformats.org/officeDocument/2006/relationships/tags" Target="../tags/tag576.xml"/><Relationship Id="rId11" Type="http://schemas.openxmlformats.org/officeDocument/2006/relationships/oleObject" Target="../embeddings/oleObject73.bin"/><Relationship Id="rId5" Type="http://schemas.openxmlformats.org/officeDocument/2006/relationships/tags" Target="../tags/tag575.xml"/><Relationship Id="rId10" Type="http://schemas.openxmlformats.org/officeDocument/2006/relationships/slideMaster" Target="../slideMasters/slideMaster5.xml"/><Relationship Id="rId4" Type="http://schemas.openxmlformats.org/officeDocument/2006/relationships/tags" Target="../tags/tag574.xml"/><Relationship Id="rId9" Type="http://schemas.openxmlformats.org/officeDocument/2006/relationships/tags" Target="../tags/tag579.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image" Target="../media/image2.emf"/><Relationship Id="rId5" Type="http://schemas.openxmlformats.org/officeDocument/2006/relationships/tags" Target="../tags/tag71.xml"/><Relationship Id="rId10" Type="http://schemas.openxmlformats.org/officeDocument/2006/relationships/oleObject" Target="../embeddings/oleObject8.bin"/><Relationship Id="rId4" Type="http://schemas.openxmlformats.org/officeDocument/2006/relationships/tags" Target="../tags/tag70.xml"/><Relationship Id="rId9"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587.xml"/><Relationship Id="rId3" Type="http://schemas.openxmlformats.org/officeDocument/2006/relationships/tags" Target="../tags/tag582.xml"/><Relationship Id="rId7" Type="http://schemas.openxmlformats.org/officeDocument/2006/relationships/tags" Target="../tags/tag586.xml"/><Relationship Id="rId12" Type="http://schemas.openxmlformats.org/officeDocument/2006/relationships/image" Target="../media/image3.emf"/><Relationship Id="rId2" Type="http://schemas.openxmlformats.org/officeDocument/2006/relationships/tags" Target="../tags/tag581.xml"/><Relationship Id="rId1" Type="http://schemas.openxmlformats.org/officeDocument/2006/relationships/tags" Target="../tags/tag580.xml"/><Relationship Id="rId6" Type="http://schemas.openxmlformats.org/officeDocument/2006/relationships/tags" Target="../tags/tag585.xml"/><Relationship Id="rId11" Type="http://schemas.openxmlformats.org/officeDocument/2006/relationships/oleObject" Target="../embeddings/oleObject74.bin"/><Relationship Id="rId5" Type="http://schemas.openxmlformats.org/officeDocument/2006/relationships/tags" Target="../tags/tag584.xml"/><Relationship Id="rId10" Type="http://schemas.openxmlformats.org/officeDocument/2006/relationships/slideMaster" Target="../slideMasters/slideMaster5.xml"/><Relationship Id="rId4" Type="http://schemas.openxmlformats.org/officeDocument/2006/relationships/tags" Target="../tags/tag583.xml"/><Relationship Id="rId9" Type="http://schemas.openxmlformats.org/officeDocument/2006/relationships/tags" Target="../tags/tag588.xml"/></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596.xml"/><Relationship Id="rId3" Type="http://schemas.openxmlformats.org/officeDocument/2006/relationships/tags" Target="../tags/tag591.xml"/><Relationship Id="rId7" Type="http://schemas.openxmlformats.org/officeDocument/2006/relationships/tags" Target="../tags/tag595.xml"/><Relationship Id="rId12" Type="http://schemas.openxmlformats.org/officeDocument/2006/relationships/image" Target="../media/image2.emf"/><Relationship Id="rId2" Type="http://schemas.openxmlformats.org/officeDocument/2006/relationships/tags" Target="../tags/tag590.xml"/><Relationship Id="rId1" Type="http://schemas.openxmlformats.org/officeDocument/2006/relationships/tags" Target="../tags/tag589.xml"/><Relationship Id="rId6" Type="http://schemas.openxmlformats.org/officeDocument/2006/relationships/tags" Target="../tags/tag594.xml"/><Relationship Id="rId11" Type="http://schemas.openxmlformats.org/officeDocument/2006/relationships/oleObject" Target="../embeddings/oleObject75.bin"/><Relationship Id="rId5" Type="http://schemas.openxmlformats.org/officeDocument/2006/relationships/tags" Target="../tags/tag593.xml"/><Relationship Id="rId10" Type="http://schemas.openxmlformats.org/officeDocument/2006/relationships/slideMaster" Target="../slideMasters/slideMaster5.xml"/><Relationship Id="rId4" Type="http://schemas.openxmlformats.org/officeDocument/2006/relationships/tags" Target="../tags/tag592.xml"/><Relationship Id="rId9" Type="http://schemas.openxmlformats.org/officeDocument/2006/relationships/tags" Target="../tags/tag597.xml"/></Relationships>
</file>

<file path=ppt/slideLayouts/_rels/slideLayout72.xml.rels><?xml version="1.0" encoding="UTF-8" standalone="yes"?>
<Relationships xmlns="http://schemas.openxmlformats.org/package/2006/relationships"><Relationship Id="rId8" Type="http://schemas.openxmlformats.org/officeDocument/2006/relationships/tags" Target="../tags/tag605.xml"/><Relationship Id="rId3" Type="http://schemas.openxmlformats.org/officeDocument/2006/relationships/tags" Target="../tags/tag600.xml"/><Relationship Id="rId7" Type="http://schemas.openxmlformats.org/officeDocument/2006/relationships/tags" Target="../tags/tag604.xml"/><Relationship Id="rId12" Type="http://schemas.openxmlformats.org/officeDocument/2006/relationships/image" Target="../media/image2.emf"/><Relationship Id="rId2" Type="http://schemas.openxmlformats.org/officeDocument/2006/relationships/tags" Target="../tags/tag599.xml"/><Relationship Id="rId1" Type="http://schemas.openxmlformats.org/officeDocument/2006/relationships/tags" Target="../tags/tag598.xml"/><Relationship Id="rId6" Type="http://schemas.openxmlformats.org/officeDocument/2006/relationships/tags" Target="../tags/tag603.xml"/><Relationship Id="rId11" Type="http://schemas.openxmlformats.org/officeDocument/2006/relationships/oleObject" Target="../embeddings/oleObject76.bin"/><Relationship Id="rId5" Type="http://schemas.openxmlformats.org/officeDocument/2006/relationships/tags" Target="../tags/tag602.xml"/><Relationship Id="rId10" Type="http://schemas.openxmlformats.org/officeDocument/2006/relationships/slideMaster" Target="../slideMasters/slideMaster5.xml"/><Relationship Id="rId4" Type="http://schemas.openxmlformats.org/officeDocument/2006/relationships/tags" Target="../tags/tag601.xml"/><Relationship Id="rId9" Type="http://schemas.openxmlformats.org/officeDocument/2006/relationships/tags" Target="../tags/tag606.xml"/></Relationships>
</file>

<file path=ppt/slideLayouts/_rels/slideLayout73.xml.rels><?xml version="1.0" encoding="UTF-8" standalone="yes"?>
<Relationships xmlns="http://schemas.openxmlformats.org/package/2006/relationships"><Relationship Id="rId8" Type="http://schemas.openxmlformats.org/officeDocument/2006/relationships/tags" Target="../tags/tag614.xml"/><Relationship Id="rId3" Type="http://schemas.openxmlformats.org/officeDocument/2006/relationships/tags" Target="../tags/tag609.xml"/><Relationship Id="rId7" Type="http://schemas.openxmlformats.org/officeDocument/2006/relationships/tags" Target="../tags/tag613.xml"/><Relationship Id="rId12" Type="http://schemas.openxmlformats.org/officeDocument/2006/relationships/image" Target="../media/image3.emf"/><Relationship Id="rId2" Type="http://schemas.openxmlformats.org/officeDocument/2006/relationships/tags" Target="../tags/tag608.xml"/><Relationship Id="rId1" Type="http://schemas.openxmlformats.org/officeDocument/2006/relationships/tags" Target="../tags/tag607.xml"/><Relationship Id="rId6" Type="http://schemas.openxmlformats.org/officeDocument/2006/relationships/tags" Target="../tags/tag612.xml"/><Relationship Id="rId11" Type="http://schemas.openxmlformats.org/officeDocument/2006/relationships/oleObject" Target="../embeddings/oleObject77.bin"/><Relationship Id="rId5" Type="http://schemas.openxmlformats.org/officeDocument/2006/relationships/tags" Target="../tags/tag611.xml"/><Relationship Id="rId10" Type="http://schemas.openxmlformats.org/officeDocument/2006/relationships/slideMaster" Target="../slideMasters/slideMaster5.xml"/><Relationship Id="rId4" Type="http://schemas.openxmlformats.org/officeDocument/2006/relationships/tags" Target="../tags/tag610.xml"/><Relationship Id="rId9" Type="http://schemas.openxmlformats.org/officeDocument/2006/relationships/tags" Target="../tags/tag615.xml"/></Relationships>
</file>

<file path=ppt/slideLayouts/_rels/slideLayout7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618.xml"/><Relationship Id="rId7" Type="http://schemas.openxmlformats.org/officeDocument/2006/relationships/tags" Target="../tags/tag622.xml"/><Relationship Id="rId2" Type="http://schemas.openxmlformats.org/officeDocument/2006/relationships/tags" Target="../tags/tag617.xml"/><Relationship Id="rId1" Type="http://schemas.openxmlformats.org/officeDocument/2006/relationships/tags" Target="../tags/tag616.xml"/><Relationship Id="rId6" Type="http://schemas.openxmlformats.org/officeDocument/2006/relationships/tags" Target="../tags/tag621.xml"/><Relationship Id="rId5" Type="http://schemas.openxmlformats.org/officeDocument/2006/relationships/tags" Target="../tags/tag620.xml"/><Relationship Id="rId10" Type="http://schemas.openxmlformats.org/officeDocument/2006/relationships/image" Target="../media/image1.emf"/><Relationship Id="rId4" Type="http://schemas.openxmlformats.org/officeDocument/2006/relationships/tags" Target="../tags/tag619.xml"/><Relationship Id="rId9" Type="http://schemas.openxmlformats.org/officeDocument/2006/relationships/oleObject" Target="../embeddings/oleObject78.bin"/></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25.xml"/><Relationship Id="rId7" Type="http://schemas.openxmlformats.org/officeDocument/2006/relationships/oleObject" Target="../embeddings/oleObject79.bin"/><Relationship Id="rId2" Type="http://schemas.openxmlformats.org/officeDocument/2006/relationships/tags" Target="../tags/tag624.xml"/><Relationship Id="rId1" Type="http://schemas.openxmlformats.org/officeDocument/2006/relationships/tags" Target="../tags/tag623.xml"/><Relationship Id="rId6" Type="http://schemas.openxmlformats.org/officeDocument/2006/relationships/slideMaster" Target="../slideMasters/slideMaster5.xml"/><Relationship Id="rId5" Type="http://schemas.openxmlformats.org/officeDocument/2006/relationships/tags" Target="../tags/tag627.xml"/><Relationship Id="rId4" Type="http://schemas.openxmlformats.org/officeDocument/2006/relationships/tags" Target="../tags/tag626.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630.xml"/><Relationship Id="rId2" Type="http://schemas.openxmlformats.org/officeDocument/2006/relationships/tags" Target="../tags/tag629.xml"/><Relationship Id="rId1" Type="http://schemas.openxmlformats.org/officeDocument/2006/relationships/tags" Target="../tags/tag628.x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54.xml"/><Relationship Id="rId7" Type="http://schemas.openxmlformats.org/officeDocument/2006/relationships/tags" Target="../tags/tag658.xml"/><Relationship Id="rId2" Type="http://schemas.openxmlformats.org/officeDocument/2006/relationships/tags" Target="../tags/tag653.xml"/><Relationship Id="rId1" Type="http://schemas.openxmlformats.org/officeDocument/2006/relationships/tags" Target="../tags/tag652.xml"/><Relationship Id="rId6" Type="http://schemas.openxmlformats.org/officeDocument/2006/relationships/tags" Target="../tags/tag657.xml"/><Relationship Id="rId5" Type="http://schemas.openxmlformats.org/officeDocument/2006/relationships/tags" Target="../tags/tag656.xml"/><Relationship Id="rId10" Type="http://schemas.openxmlformats.org/officeDocument/2006/relationships/image" Target="../media/image2.emf"/><Relationship Id="rId4" Type="http://schemas.openxmlformats.org/officeDocument/2006/relationships/tags" Target="../tags/tag655.xml"/><Relationship Id="rId9" Type="http://schemas.openxmlformats.org/officeDocument/2006/relationships/oleObject" Target="../embeddings/oleObject82.bin"/></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3.emf"/><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oleObject" Target="../embeddings/oleObject9.bin"/><Relationship Id="rId5" Type="http://schemas.openxmlformats.org/officeDocument/2006/relationships/tags" Target="../tags/tag79.xml"/><Relationship Id="rId10" Type="http://schemas.openxmlformats.org/officeDocument/2006/relationships/slideMaster" Target="../slideMasters/slideMaster1.xml"/><Relationship Id="rId4" Type="http://schemas.openxmlformats.org/officeDocument/2006/relationships/tags" Target="../tags/tag78.xml"/><Relationship Id="rId9" Type="http://schemas.openxmlformats.org/officeDocument/2006/relationships/tags" Target="../tags/tag83.xml"/></Relationships>
</file>

<file path=ppt/slideLayouts/_rels/slideLayout80.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61.xml"/><Relationship Id="rId7" Type="http://schemas.openxmlformats.org/officeDocument/2006/relationships/tags" Target="../tags/tag665.xml"/><Relationship Id="rId2" Type="http://schemas.openxmlformats.org/officeDocument/2006/relationships/tags" Target="../tags/tag660.xml"/><Relationship Id="rId1" Type="http://schemas.openxmlformats.org/officeDocument/2006/relationships/tags" Target="../tags/tag659.xml"/><Relationship Id="rId6" Type="http://schemas.openxmlformats.org/officeDocument/2006/relationships/tags" Target="../tags/tag664.xml"/><Relationship Id="rId5" Type="http://schemas.openxmlformats.org/officeDocument/2006/relationships/tags" Target="../tags/tag663.xml"/><Relationship Id="rId10" Type="http://schemas.openxmlformats.org/officeDocument/2006/relationships/image" Target="../media/image1.emf"/><Relationship Id="rId4" Type="http://schemas.openxmlformats.org/officeDocument/2006/relationships/tags" Target="../tags/tag662.xml"/><Relationship Id="rId9" Type="http://schemas.openxmlformats.org/officeDocument/2006/relationships/oleObject" Target="../embeddings/oleObject83.bin"/></Relationships>
</file>

<file path=ppt/slideLayouts/_rels/slideLayout81.xml.rels><?xml version="1.0" encoding="UTF-8" standalone="yes"?>
<Relationships xmlns="http://schemas.openxmlformats.org/package/2006/relationships"><Relationship Id="rId8" Type="http://schemas.openxmlformats.org/officeDocument/2006/relationships/oleObject" Target="../embeddings/oleObject84.bin"/><Relationship Id="rId3" Type="http://schemas.openxmlformats.org/officeDocument/2006/relationships/tags" Target="../tags/tag668.xml"/><Relationship Id="rId7" Type="http://schemas.openxmlformats.org/officeDocument/2006/relationships/slideMaster" Target="../slideMasters/slideMaster6.xml"/><Relationship Id="rId2" Type="http://schemas.openxmlformats.org/officeDocument/2006/relationships/tags" Target="../tags/tag667.xml"/><Relationship Id="rId1" Type="http://schemas.openxmlformats.org/officeDocument/2006/relationships/tags" Target="../tags/tag666.xml"/><Relationship Id="rId6" Type="http://schemas.openxmlformats.org/officeDocument/2006/relationships/tags" Target="../tags/tag671.xml"/><Relationship Id="rId5" Type="http://schemas.openxmlformats.org/officeDocument/2006/relationships/tags" Target="../tags/tag670.xml"/><Relationship Id="rId4" Type="http://schemas.openxmlformats.org/officeDocument/2006/relationships/tags" Target="../tags/tag669.xml"/><Relationship Id="rId9" Type="http://schemas.openxmlformats.org/officeDocument/2006/relationships/image" Target="../media/image2.emf"/></Relationships>
</file>

<file path=ppt/slideLayouts/_rels/slideLayout82.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74.xml"/><Relationship Id="rId7" Type="http://schemas.openxmlformats.org/officeDocument/2006/relationships/tags" Target="../tags/tag678.xml"/><Relationship Id="rId2" Type="http://schemas.openxmlformats.org/officeDocument/2006/relationships/tags" Target="../tags/tag673.xml"/><Relationship Id="rId1" Type="http://schemas.openxmlformats.org/officeDocument/2006/relationships/tags" Target="../tags/tag672.xml"/><Relationship Id="rId6" Type="http://schemas.openxmlformats.org/officeDocument/2006/relationships/tags" Target="../tags/tag677.xml"/><Relationship Id="rId5" Type="http://schemas.openxmlformats.org/officeDocument/2006/relationships/tags" Target="../tags/tag676.xml"/><Relationship Id="rId10" Type="http://schemas.openxmlformats.org/officeDocument/2006/relationships/image" Target="../media/image2.emf"/><Relationship Id="rId4" Type="http://schemas.openxmlformats.org/officeDocument/2006/relationships/tags" Target="../tags/tag675.xml"/><Relationship Id="rId9" Type="http://schemas.openxmlformats.org/officeDocument/2006/relationships/oleObject" Target="../embeddings/oleObject85.bin"/></Relationships>
</file>

<file path=ppt/slideLayouts/_rels/slideLayout83.xml.rels><?xml version="1.0" encoding="UTF-8" standalone="yes"?>
<Relationships xmlns="http://schemas.openxmlformats.org/package/2006/relationships"><Relationship Id="rId8" Type="http://schemas.openxmlformats.org/officeDocument/2006/relationships/oleObject" Target="../embeddings/oleObject86.bin"/><Relationship Id="rId3" Type="http://schemas.openxmlformats.org/officeDocument/2006/relationships/tags" Target="../tags/tag681.xml"/><Relationship Id="rId7" Type="http://schemas.openxmlformats.org/officeDocument/2006/relationships/slideMaster" Target="../slideMasters/slideMaster6.xml"/><Relationship Id="rId2" Type="http://schemas.openxmlformats.org/officeDocument/2006/relationships/tags" Target="../tags/tag680.xml"/><Relationship Id="rId1" Type="http://schemas.openxmlformats.org/officeDocument/2006/relationships/tags" Target="../tags/tag679.xml"/><Relationship Id="rId6" Type="http://schemas.openxmlformats.org/officeDocument/2006/relationships/tags" Target="../tags/tag684.xml"/><Relationship Id="rId5" Type="http://schemas.openxmlformats.org/officeDocument/2006/relationships/tags" Target="../tags/tag683.xml"/><Relationship Id="rId4" Type="http://schemas.openxmlformats.org/officeDocument/2006/relationships/tags" Target="../tags/tag682.xml"/><Relationship Id="rId9" Type="http://schemas.openxmlformats.org/officeDocument/2006/relationships/image" Target="../media/image2.emf"/></Relationships>
</file>

<file path=ppt/slideLayouts/_rels/slideLayout84.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87.xml"/><Relationship Id="rId7" Type="http://schemas.openxmlformats.org/officeDocument/2006/relationships/tags" Target="../tags/tag691.xml"/><Relationship Id="rId2" Type="http://schemas.openxmlformats.org/officeDocument/2006/relationships/tags" Target="../tags/tag686.xml"/><Relationship Id="rId1" Type="http://schemas.openxmlformats.org/officeDocument/2006/relationships/tags" Target="../tags/tag685.xml"/><Relationship Id="rId6" Type="http://schemas.openxmlformats.org/officeDocument/2006/relationships/tags" Target="../tags/tag690.xml"/><Relationship Id="rId5" Type="http://schemas.openxmlformats.org/officeDocument/2006/relationships/tags" Target="../tags/tag689.xml"/><Relationship Id="rId10" Type="http://schemas.openxmlformats.org/officeDocument/2006/relationships/image" Target="../media/image2.emf"/><Relationship Id="rId4" Type="http://schemas.openxmlformats.org/officeDocument/2006/relationships/tags" Target="../tags/tag688.xml"/><Relationship Id="rId9" Type="http://schemas.openxmlformats.org/officeDocument/2006/relationships/oleObject" Target="../embeddings/oleObject87.bin"/></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699.xml"/><Relationship Id="rId3" Type="http://schemas.openxmlformats.org/officeDocument/2006/relationships/tags" Target="../tags/tag694.xml"/><Relationship Id="rId7" Type="http://schemas.openxmlformats.org/officeDocument/2006/relationships/tags" Target="../tags/tag698.xml"/><Relationship Id="rId2" Type="http://schemas.openxmlformats.org/officeDocument/2006/relationships/tags" Target="../tags/tag693.xml"/><Relationship Id="rId1" Type="http://schemas.openxmlformats.org/officeDocument/2006/relationships/tags" Target="../tags/tag692.xml"/><Relationship Id="rId6" Type="http://schemas.openxmlformats.org/officeDocument/2006/relationships/tags" Target="../tags/tag697.xml"/><Relationship Id="rId11" Type="http://schemas.openxmlformats.org/officeDocument/2006/relationships/image" Target="../media/image3.emf"/><Relationship Id="rId5" Type="http://schemas.openxmlformats.org/officeDocument/2006/relationships/tags" Target="../tags/tag696.xml"/><Relationship Id="rId10" Type="http://schemas.openxmlformats.org/officeDocument/2006/relationships/oleObject" Target="../embeddings/oleObject88.bin"/><Relationship Id="rId4" Type="http://schemas.openxmlformats.org/officeDocument/2006/relationships/tags" Target="../tags/tag695.xml"/><Relationship Id="rId9"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707.xml"/><Relationship Id="rId3" Type="http://schemas.openxmlformats.org/officeDocument/2006/relationships/tags" Target="../tags/tag702.xml"/><Relationship Id="rId7" Type="http://schemas.openxmlformats.org/officeDocument/2006/relationships/tags" Target="../tags/tag706.xml"/><Relationship Id="rId2" Type="http://schemas.openxmlformats.org/officeDocument/2006/relationships/tags" Target="../tags/tag701.xml"/><Relationship Id="rId1" Type="http://schemas.openxmlformats.org/officeDocument/2006/relationships/tags" Target="../tags/tag700.xml"/><Relationship Id="rId6" Type="http://schemas.openxmlformats.org/officeDocument/2006/relationships/tags" Target="../tags/tag705.xml"/><Relationship Id="rId11" Type="http://schemas.openxmlformats.org/officeDocument/2006/relationships/image" Target="../media/image3.emf"/><Relationship Id="rId5" Type="http://schemas.openxmlformats.org/officeDocument/2006/relationships/tags" Target="../tags/tag704.xml"/><Relationship Id="rId10" Type="http://schemas.openxmlformats.org/officeDocument/2006/relationships/oleObject" Target="../embeddings/oleObject89.bin"/><Relationship Id="rId4" Type="http://schemas.openxmlformats.org/officeDocument/2006/relationships/tags" Target="../tags/tag703.xml"/><Relationship Id="rId9"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715.xml"/><Relationship Id="rId3" Type="http://schemas.openxmlformats.org/officeDocument/2006/relationships/tags" Target="../tags/tag710.xml"/><Relationship Id="rId7" Type="http://schemas.openxmlformats.org/officeDocument/2006/relationships/tags" Target="../tags/tag714.xml"/><Relationship Id="rId2" Type="http://schemas.openxmlformats.org/officeDocument/2006/relationships/tags" Target="../tags/tag709.xml"/><Relationship Id="rId1" Type="http://schemas.openxmlformats.org/officeDocument/2006/relationships/tags" Target="../tags/tag708.xml"/><Relationship Id="rId6" Type="http://schemas.openxmlformats.org/officeDocument/2006/relationships/tags" Target="../tags/tag713.xml"/><Relationship Id="rId11" Type="http://schemas.openxmlformats.org/officeDocument/2006/relationships/image" Target="../media/image2.emf"/><Relationship Id="rId5" Type="http://schemas.openxmlformats.org/officeDocument/2006/relationships/tags" Target="../tags/tag712.xml"/><Relationship Id="rId10" Type="http://schemas.openxmlformats.org/officeDocument/2006/relationships/oleObject" Target="../embeddings/oleObject90.bin"/><Relationship Id="rId4" Type="http://schemas.openxmlformats.org/officeDocument/2006/relationships/tags" Target="../tags/tag711.xml"/><Relationship Id="rId9"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8" Type="http://schemas.openxmlformats.org/officeDocument/2006/relationships/tags" Target="../tags/tag723.xml"/><Relationship Id="rId3" Type="http://schemas.openxmlformats.org/officeDocument/2006/relationships/tags" Target="../tags/tag718.xml"/><Relationship Id="rId7" Type="http://schemas.openxmlformats.org/officeDocument/2006/relationships/tags" Target="../tags/tag722.xml"/><Relationship Id="rId2" Type="http://schemas.openxmlformats.org/officeDocument/2006/relationships/tags" Target="../tags/tag717.xml"/><Relationship Id="rId1" Type="http://schemas.openxmlformats.org/officeDocument/2006/relationships/tags" Target="../tags/tag716.xml"/><Relationship Id="rId6" Type="http://schemas.openxmlformats.org/officeDocument/2006/relationships/tags" Target="../tags/tag721.xml"/><Relationship Id="rId11" Type="http://schemas.openxmlformats.org/officeDocument/2006/relationships/image" Target="../media/image2.emf"/><Relationship Id="rId5" Type="http://schemas.openxmlformats.org/officeDocument/2006/relationships/tags" Target="../tags/tag720.xml"/><Relationship Id="rId10" Type="http://schemas.openxmlformats.org/officeDocument/2006/relationships/oleObject" Target="../embeddings/oleObject91.bin"/><Relationship Id="rId4" Type="http://schemas.openxmlformats.org/officeDocument/2006/relationships/tags" Target="../tags/tag719.xml"/><Relationship Id="rId9"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731.xml"/><Relationship Id="rId3" Type="http://schemas.openxmlformats.org/officeDocument/2006/relationships/tags" Target="../tags/tag726.xml"/><Relationship Id="rId7" Type="http://schemas.openxmlformats.org/officeDocument/2006/relationships/tags" Target="../tags/tag730.xml"/><Relationship Id="rId2" Type="http://schemas.openxmlformats.org/officeDocument/2006/relationships/tags" Target="../tags/tag725.xml"/><Relationship Id="rId1" Type="http://schemas.openxmlformats.org/officeDocument/2006/relationships/tags" Target="../tags/tag724.xml"/><Relationship Id="rId6" Type="http://schemas.openxmlformats.org/officeDocument/2006/relationships/tags" Target="../tags/tag729.xml"/><Relationship Id="rId11" Type="http://schemas.openxmlformats.org/officeDocument/2006/relationships/image" Target="../media/image3.emf"/><Relationship Id="rId5" Type="http://schemas.openxmlformats.org/officeDocument/2006/relationships/tags" Target="../tags/tag728.xml"/><Relationship Id="rId10" Type="http://schemas.openxmlformats.org/officeDocument/2006/relationships/oleObject" Target="../embeddings/oleObject92.bin"/><Relationship Id="rId4" Type="http://schemas.openxmlformats.org/officeDocument/2006/relationships/tags" Target="../tags/tag727.xml"/><Relationship Id="rId9"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91.xml"/><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3.emf"/><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oleObject" Target="../embeddings/oleObject10.bin"/><Relationship Id="rId5" Type="http://schemas.openxmlformats.org/officeDocument/2006/relationships/tags" Target="../tags/tag88.xml"/><Relationship Id="rId10" Type="http://schemas.openxmlformats.org/officeDocument/2006/relationships/slideMaster" Target="../slideMasters/slideMaster1.xml"/><Relationship Id="rId4" Type="http://schemas.openxmlformats.org/officeDocument/2006/relationships/tags" Target="../tags/tag87.xml"/><Relationship Id="rId9" Type="http://schemas.openxmlformats.org/officeDocument/2006/relationships/tags" Target="../tags/tag92.xml"/></Relationships>
</file>

<file path=ppt/slideLayouts/_rels/slideLayout90.xml.rels><?xml version="1.0" encoding="UTF-8" standalone="yes"?>
<Relationships xmlns="http://schemas.openxmlformats.org/package/2006/relationships"><Relationship Id="rId8" Type="http://schemas.openxmlformats.org/officeDocument/2006/relationships/oleObject" Target="../embeddings/oleObject93.bin"/><Relationship Id="rId3" Type="http://schemas.openxmlformats.org/officeDocument/2006/relationships/tags" Target="../tags/tag734.xml"/><Relationship Id="rId7" Type="http://schemas.openxmlformats.org/officeDocument/2006/relationships/slideMaster" Target="../slideMasters/slideMaster6.xml"/><Relationship Id="rId2" Type="http://schemas.openxmlformats.org/officeDocument/2006/relationships/tags" Target="../tags/tag733.xml"/><Relationship Id="rId1" Type="http://schemas.openxmlformats.org/officeDocument/2006/relationships/tags" Target="../tags/tag732.xml"/><Relationship Id="rId6" Type="http://schemas.openxmlformats.org/officeDocument/2006/relationships/tags" Target="../tags/tag737.xml"/><Relationship Id="rId5" Type="http://schemas.openxmlformats.org/officeDocument/2006/relationships/tags" Target="../tags/tag736.xml"/><Relationship Id="rId4" Type="http://schemas.openxmlformats.org/officeDocument/2006/relationships/tags" Target="../tags/tag735.xml"/><Relationship Id="rId9"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740.xml"/><Relationship Id="rId7" Type="http://schemas.openxmlformats.org/officeDocument/2006/relationships/image" Target="../media/image2.emf"/><Relationship Id="rId2" Type="http://schemas.openxmlformats.org/officeDocument/2006/relationships/tags" Target="../tags/tag739.xml"/><Relationship Id="rId1" Type="http://schemas.openxmlformats.org/officeDocument/2006/relationships/tags" Target="../tags/tag738.xml"/><Relationship Id="rId6" Type="http://schemas.openxmlformats.org/officeDocument/2006/relationships/oleObject" Target="../embeddings/oleObject94.bin"/><Relationship Id="rId5" Type="http://schemas.openxmlformats.org/officeDocument/2006/relationships/slideMaster" Target="../slideMasters/slideMaster6.xml"/><Relationship Id="rId4" Type="http://schemas.openxmlformats.org/officeDocument/2006/relationships/tags" Target="../tags/tag741.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744.xml"/><Relationship Id="rId2" Type="http://schemas.openxmlformats.org/officeDocument/2006/relationships/tags" Target="../tags/tag743.xml"/><Relationship Id="rId1" Type="http://schemas.openxmlformats.org/officeDocument/2006/relationships/tags" Target="../tags/tag742.xml"/><Relationship Id="rId6" Type="http://schemas.openxmlformats.org/officeDocument/2006/relationships/image" Target="../media/image2.emf"/><Relationship Id="rId5" Type="http://schemas.openxmlformats.org/officeDocument/2006/relationships/oleObject" Target="../embeddings/oleObject95.bin"/><Relationship Id="rId4"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769.xml"/><Relationship Id="rId7" Type="http://schemas.openxmlformats.org/officeDocument/2006/relationships/tags" Target="../tags/tag773.xml"/><Relationship Id="rId2" Type="http://schemas.openxmlformats.org/officeDocument/2006/relationships/tags" Target="../tags/tag768.xml"/><Relationship Id="rId1" Type="http://schemas.openxmlformats.org/officeDocument/2006/relationships/tags" Target="../tags/tag767.xml"/><Relationship Id="rId6" Type="http://schemas.openxmlformats.org/officeDocument/2006/relationships/tags" Target="../tags/tag772.xml"/><Relationship Id="rId5" Type="http://schemas.openxmlformats.org/officeDocument/2006/relationships/tags" Target="../tags/tag771.xml"/><Relationship Id="rId10" Type="http://schemas.openxmlformats.org/officeDocument/2006/relationships/image" Target="../media/image2.emf"/><Relationship Id="rId4" Type="http://schemas.openxmlformats.org/officeDocument/2006/relationships/tags" Target="../tags/tag770.xml"/><Relationship Id="rId9" Type="http://schemas.openxmlformats.org/officeDocument/2006/relationships/oleObject" Target="../embeddings/oleObject97.bin"/></Relationships>
</file>

<file path=ppt/slideLayouts/_rels/slideLayout94.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776.xml"/><Relationship Id="rId7" Type="http://schemas.openxmlformats.org/officeDocument/2006/relationships/tags" Target="../tags/tag780.xml"/><Relationship Id="rId2" Type="http://schemas.openxmlformats.org/officeDocument/2006/relationships/tags" Target="../tags/tag775.xml"/><Relationship Id="rId1" Type="http://schemas.openxmlformats.org/officeDocument/2006/relationships/tags" Target="../tags/tag774.xml"/><Relationship Id="rId6" Type="http://schemas.openxmlformats.org/officeDocument/2006/relationships/tags" Target="../tags/tag779.xml"/><Relationship Id="rId5" Type="http://schemas.openxmlformats.org/officeDocument/2006/relationships/tags" Target="../tags/tag778.xml"/><Relationship Id="rId10" Type="http://schemas.openxmlformats.org/officeDocument/2006/relationships/image" Target="../media/image2.emf"/><Relationship Id="rId4" Type="http://schemas.openxmlformats.org/officeDocument/2006/relationships/tags" Target="../tags/tag777.xml"/><Relationship Id="rId9" Type="http://schemas.openxmlformats.org/officeDocument/2006/relationships/oleObject" Target="../embeddings/oleObject98.bin"/></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788.xml"/><Relationship Id="rId3" Type="http://schemas.openxmlformats.org/officeDocument/2006/relationships/tags" Target="../tags/tag783.xml"/><Relationship Id="rId7" Type="http://schemas.openxmlformats.org/officeDocument/2006/relationships/tags" Target="../tags/tag787.xml"/><Relationship Id="rId2" Type="http://schemas.openxmlformats.org/officeDocument/2006/relationships/tags" Target="../tags/tag782.xml"/><Relationship Id="rId1" Type="http://schemas.openxmlformats.org/officeDocument/2006/relationships/tags" Target="../tags/tag781.xml"/><Relationship Id="rId6" Type="http://schemas.openxmlformats.org/officeDocument/2006/relationships/tags" Target="../tags/tag786.xml"/><Relationship Id="rId11" Type="http://schemas.openxmlformats.org/officeDocument/2006/relationships/image" Target="../media/image1.emf"/><Relationship Id="rId5" Type="http://schemas.openxmlformats.org/officeDocument/2006/relationships/tags" Target="../tags/tag785.xml"/><Relationship Id="rId10" Type="http://schemas.openxmlformats.org/officeDocument/2006/relationships/oleObject" Target="../embeddings/oleObject99.bin"/><Relationship Id="rId4" Type="http://schemas.openxmlformats.org/officeDocument/2006/relationships/tags" Target="../tags/tag784.xml"/><Relationship Id="rId9"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791.xml"/><Relationship Id="rId7" Type="http://schemas.openxmlformats.org/officeDocument/2006/relationships/tags" Target="../tags/tag795.xml"/><Relationship Id="rId2" Type="http://schemas.openxmlformats.org/officeDocument/2006/relationships/tags" Target="../tags/tag790.xml"/><Relationship Id="rId1" Type="http://schemas.openxmlformats.org/officeDocument/2006/relationships/tags" Target="../tags/tag789.xml"/><Relationship Id="rId6" Type="http://schemas.openxmlformats.org/officeDocument/2006/relationships/tags" Target="../tags/tag794.xml"/><Relationship Id="rId5" Type="http://schemas.openxmlformats.org/officeDocument/2006/relationships/tags" Target="../tags/tag793.xml"/><Relationship Id="rId10" Type="http://schemas.openxmlformats.org/officeDocument/2006/relationships/image" Target="../media/image2.emf"/><Relationship Id="rId4" Type="http://schemas.openxmlformats.org/officeDocument/2006/relationships/tags" Target="../tags/tag792.xml"/><Relationship Id="rId9" Type="http://schemas.openxmlformats.org/officeDocument/2006/relationships/oleObject" Target="../embeddings/oleObject100.bin"/></Relationships>
</file>

<file path=ppt/slideLayouts/_rels/slideLayout97.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798.xml"/><Relationship Id="rId7" Type="http://schemas.openxmlformats.org/officeDocument/2006/relationships/tags" Target="../tags/tag802.xml"/><Relationship Id="rId2" Type="http://schemas.openxmlformats.org/officeDocument/2006/relationships/tags" Target="../tags/tag797.xml"/><Relationship Id="rId1" Type="http://schemas.openxmlformats.org/officeDocument/2006/relationships/tags" Target="../tags/tag796.xml"/><Relationship Id="rId6" Type="http://schemas.openxmlformats.org/officeDocument/2006/relationships/tags" Target="../tags/tag801.xml"/><Relationship Id="rId5" Type="http://schemas.openxmlformats.org/officeDocument/2006/relationships/tags" Target="../tags/tag800.xml"/><Relationship Id="rId10" Type="http://schemas.openxmlformats.org/officeDocument/2006/relationships/image" Target="../media/image2.emf"/><Relationship Id="rId4" Type="http://schemas.openxmlformats.org/officeDocument/2006/relationships/tags" Target="../tags/tag799.xml"/><Relationship Id="rId9" Type="http://schemas.openxmlformats.org/officeDocument/2006/relationships/oleObject" Target="../embeddings/oleObject101.bin"/></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805.xml"/><Relationship Id="rId7" Type="http://schemas.openxmlformats.org/officeDocument/2006/relationships/tags" Target="../tags/tag809.xml"/><Relationship Id="rId2" Type="http://schemas.openxmlformats.org/officeDocument/2006/relationships/tags" Target="../tags/tag804.xml"/><Relationship Id="rId1" Type="http://schemas.openxmlformats.org/officeDocument/2006/relationships/tags" Target="../tags/tag803.xml"/><Relationship Id="rId6" Type="http://schemas.openxmlformats.org/officeDocument/2006/relationships/tags" Target="../tags/tag808.xml"/><Relationship Id="rId5" Type="http://schemas.openxmlformats.org/officeDocument/2006/relationships/tags" Target="../tags/tag807.xml"/><Relationship Id="rId10" Type="http://schemas.openxmlformats.org/officeDocument/2006/relationships/image" Target="../media/image2.emf"/><Relationship Id="rId4" Type="http://schemas.openxmlformats.org/officeDocument/2006/relationships/tags" Target="../tags/tag806.xml"/><Relationship Id="rId9" Type="http://schemas.openxmlformats.org/officeDocument/2006/relationships/oleObject" Target="../embeddings/oleObject102.bin"/></Relationships>
</file>

<file path=ppt/slideLayouts/_rels/slideLayout99.xml.rels><?xml version="1.0" encoding="UTF-8" standalone="yes"?>
<Relationships xmlns="http://schemas.openxmlformats.org/package/2006/relationships"><Relationship Id="rId8" Type="http://schemas.openxmlformats.org/officeDocument/2006/relationships/tags" Target="../tags/tag817.xml"/><Relationship Id="rId3" Type="http://schemas.openxmlformats.org/officeDocument/2006/relationships/tags" Target="../tags/tag812.xml"/><Relationship Id="rId7" Type="http://schemas.openxmlformats.org/officeDocument/2006/relationships/tags" Target="../tags/tag816.xml"/><Relationship Id="rId2" Type="http://schemas.openxmlformats.org/officeDocument/2006/relationships/tags" Target="../tags/tag811.xml"/><Relationship Id="rId1" Type="http://schemas.openxmlformats.org/officeDocument/2006/relationships/tags" Target="../tags/tag810.xml"/><Relationship Id="rId6" Type="http://schemas.openxmlformats.org/officeDocument/2006/relationships/tags" Target="../tags/tag815.xml"/><Relationship Id="rId11" Type="http://schemas.openxmlformats.org/officeDocument/2006/relationships/image" Target="../media/image2.emf"/><Relationship Id="rId5" Type="http://schemas.openxmlformats.org/officeDocument/2006/relationships/tags" Target="../tags/tag814.xml"/><Relationship Id="rId10" Type="http://schemas.openxmlformats.org/officeDocument/2006/relationships/oleObject" Target="../embeddings/oleObject103.bin"/><Relationship Id="rId4" Type="http://schemas.openxmlformats.org/officeDocument/2006/relationships/tags" Target="../tags/tag813.xml"/><Relationship Id="rId9"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1337835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extLst>
              <p:ext uri="{D42A27DB-BD31-4B8C-83A1-F6EECF244321}">
                <p14:modId xmlns:p14="http://schemas.microsoft.com/office/powerpoint/2010/main" val="561033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5"/>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7"/>
            </p:custDataLst>
          </p:nvPr>
        </p:nvSpPr>
        <p:spPr>
          <a:xfrm>
            <a:off x="416052" y="173736"/>
            <a:ext cx="3869385"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8"/>
            </p:custDataLst>
          </p:nvPr>
        </p:nvSpPr>
        <p:spPr>
          <a:xfrm>
            <a:off x="416052" y="525928"/>
            <a:ext cx="3869385"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60546789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extLst>
              <p:ext uri="{D42A27DB-BD31-4B8C-83A1-F6EECF244321}">
                <p14:modId xmlns:p14="http://schemas.microsoft.com/office/powerpoint/2010/main" val="353901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2560320" y="0"/>
            <a:ext cx="658368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5"/>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6"/>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7"/>
            </p:custDataLst>
          </p:nvPr>
        </p:nvSpPr>
        <p:spPr>
          <a:xfrm>
            <a:off x="411163" y="3636552"/>
            <a:ext cx="189083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8"/>
            </p:custDataLst>
          </p:nvPr>
        </p:nvSpPr>
        <p:spPr>
          <a:xfrm>
            <a:off x="411163" y="2502261"/>
            <a:ext cx="189083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5972309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extLst>
              <p:ext uri="{D42A27DB-BD31-4B8C-83A1-F6EECF244321}">
                <p14:modId xmlns:p14="http://schemas.microsoft.com/office/powerpoint/2010/main" val="2912251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5"/>
            </p:custDataLst>
          </p:nvPr>
        </p:nvSpPr>
        <p:spPr>
          <a:xfrm>
            <a:off x="416052" y="6501669"/>
            <a:ext cx="260700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7"/>
            </p:custDataLst>
          </p:nvPr>
        </p:nvSpPr>
        <p:spPr>
          <a:xfrm>
            <a:off x="411163" y="2840816"/>
            <a:ext cx="2607005"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8"/>
            </p:custDataLst>
          </p:nvPr>
        </p:nvSpPr>
        <p:spPr>
          <a:xfrm>
            <a:off x="411163" y="3636552"/>
            <a:ext cx="2596896"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42759304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extLst>
              <p:ext uri="{D42A27DB-BD31-4B8C-83A1-F6EECF244321}">
                <p14:modId xmlns:p14="http://schemas.microsoft.com/office/powerpoint/2010/main" val="1175293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5"/>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7"/>
            </p:custDataLst>
          </p:nvPr>
        </p:nvSpPr>
        <p:spPr>
          <a:xfrm>
            <a:off x="416052" y="173736"/>
            <a:ext cx="3869385"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8"/>
            </p:custDataLst>
          </p:nvPr>
        </p:nvSpPr>
        <p:spPr>
          <a:xfrm>
            <a:off x="416052" y="525928"/>
            <a:ext cx="3869385"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8748943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extLst>
              <p:ext uri="{D42A27DB-BD31-4B8C-83A1-F6EECF244321}">
                <p14:modId xmlns:p14="http://schemas.microsoft.com/office/powerpoint/2010/main" val="4255211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5"/>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7"/>
            </p:custDataLst>
          </p:nvPr>
        </p:nvSpPr>
        <p:spPr>
          <a:xfrm>
            <a:off x="416052" y="173736"/>
            <a:ext cx="5225477"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8"/>
            </p:custDataLst>
          </p:nvPr>
        </p:nvSpPr>
        <p:spPr>
          <a:xfrm>
            <a:off x="416052" y="525928"/>
            <a:ext cx="5225477"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31656762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61526556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5"/>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7"/>
            </p:custDataLst>
          </p:nvPr>
        </p:nvSpPr>
        <p:spPr>
          <a:xfrm>
            <a:off x="416052" y="173736"/>
            <a:ext cx="59436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8"/>
            </p:custDataLst>
          </p:nvPr>
        </p:nvSpPr>
        <p:spPr>
          <a:xfrm>
            <a:off x="416052" y="525928"/>
            <a:ext cx="59436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54329217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extLst>
              <p:ext uri="{D42A27DB-BD31-4B8C-83A1-F6EECF244321}">
                <p14:modId xmlns:p14="http://schemas.microsoft.com/office/powerpoint/2010/main" val="2043053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4"/>
            </p:custDataLst>
          </p:nvPr>
        </p:nvSpPr>
        <p:spPr bwMode="black">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8123640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extLst>
              <p:ext uri="{D42A27DB-BD31-4B8C-83A1-F6EECF244321}">
                <p14:modId xmlns:p14="http://schemas.microsoft.com/office/powerpoint/2010/main" val="539123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2"/>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5"/>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3121032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extLst>
              <p:ext uri="{D42A27DB-BD31-4B8C-83A1-F6EECF244321}">
                <p14:modId xmlns:p14="http://schemas.microsoft.com/office/powerpoint/2010/main" val="1752317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3"/>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
        <p:nvSpPr>
          <p:cNvPr id="6" name="TextBox 5">
            <a:extLst>
              <a:ext uri="{FF2B5EF4-FFF2-40B4-BE49-F238E27FC236}">
                <a16:creationId xmlns:a16="http://schemas.microsoft.com/office/drawing/2014/main" id="{8753461C-E4EB-442D-A46F-2F705F1BA240}"/>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12296027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extLst>
              <p:ext uri="{D42A27DB-BD31-4B8C-83A1-F6EECF244321}">
                <p14:modId xmlns:p14="http://schemas.microsoft.com/office/powerpoint/2010/main" val="2067766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5"/>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7"/>
            </p:custDataLst>
          </p:nvPr>
        </p:nvSpPr>
        <p:spPr>
          <a:xfrm>
            <a:off x="416052" y="173736"/>
            <a:ext cx="5225477"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8"/>
            </p:custDataLst>
          </p:nvPr>
        </p:nvSpPr>
        <p:spPr>
          <a:xfrm>
            <a:off x="416052" y="525928"/>
            <a:ext cx="5225477"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113909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67384664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5"/>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7"/>
            </p:custDataLst>
          </p:nvPr>
        </p:nvSpPr>
        <p:spPr>
          <a:xfrm>
            <a:off x="416052" y="173736"/>
            <a:ext cx="59436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8"/>
            </p:custDataLst>
          </p:nvPr>
        </p:nvSpPr>
        <p:spPr>
          <a:xfrm>
            <a:off x="416052" y="525928"/>
            <a:ext cx="59436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7218795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extLst>
              <p:ext uri="{D42A27DB-BD31-4B8C-83A1-F6EECF244321}">
                <p14:modId xmlns:p14="http://schemas.microsoft.com/office/powerpoint/2010/main" val="334945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4"/>
            </p:custDataLst>
          </p:nvPr>
        </p:nvSpPr>
        <p:spPr bwMode="black">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160464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extLst>
              <p:ext uri="{D42A27DB-BD31-4B8C-83A1-F6EECF244321}">
                <p14:modId xmlns:p14="http://schemas.microsoft.com/office/powerpoint/2010/main" val="1528071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2"/>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5"/>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6193704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extLst>
              <p:ext uri="{D42A27DB-BD31-4B8C-83A1-F6EECF244321}">
                <p14:modId xmlns:p14="http://schemas.microsoft.com/office/powerpoint/2010/main" val="1191417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3"/>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
        <p:nvSpPr>
          <p:cNvPr id="6" name="TextBox 5">
            <a:extLst>
              <a:ext uri="{FF2B5EF4-FFF2-40B4-BE49-F238E27FC236}">
                <a16:creationId xmlns:a16="http://schemas.microsoft.com/office/drawing/2014/main" id="{8753461C-E4EB-442D-A46F-2F705F1BA240}"/>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4664705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05CB31-DE56-407A-B80B-C3FB1369F415}"/>
              </a:ext>
            </a:extLst>
          </p:cNvPr>
          <p:cNvGraphicFramePr>
            <a:graphicFrameLocks noChangeAspect="1"/>
          </p:cNvGraphicFramePr>
          <p:nvPr userDrawn="1">
            <p:custDataLst>
              <p:tags r:id="rId1"/>
            </p:custDataLst>
            <p:extLst>
              <p:ext uri="{D42A27DB-BD31-4B8C-83A1-F6EECF244321}">
                <p14:modId xmlns:p14="http://schemas.microsoft.com/office/powerpoint/2010/main" val="171642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605CB31-DE56-407A-B80B-C3FB1369F41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CF37B43-A902-4A76-B6A5-B88040B82CB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Title">
            <a:extLst>
              <a:ext uri="{FF2B5EF4-FFF2-40B4-BE49-F238E27FC236}">
                <a16:creationId xmlns:a16="http://schemas.microsoft.com/office/drawing/2014/main" id="{CDF07847-4290-4F49-9A71-8F731BFC8606}"/>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dirty="0"/>
              <a:t>Click to edit Master title style</a:t>
            </a:r>
          </a:p>
        </p:txBody>
      </p:sp>
      <p:sp>
        <p:nvSpPr>
          <p:cNvPr id="7" name="Documenttype">
            <a:extLst>
              <a:ext uri="{FF2B5EF4-FFF2-40B4-BE49-F238E27FC236}">
                <a16:creationId xmlns:a16="http://schemas.microsoft.com/office/drawing/2014/main" id="{2E4CA36C-69A4-4C19-931C-B703D3A9AA3D}"/>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8" name="Subtitle">
            <a:extLst>
              <a:ext uri="{FF2B5EF4-FFF2-40B4-BE49-F238E27FC236}">
                <a16:creationId xmlns:a16="http://schemas.microsoft.com/office/drawing/2014/main" id="{B730FB75-D162-44C9-98A9-461AB5E1A164}"/>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dirty="0"/>
              <a:t>Click to edit Master subtitle style</a:t>
            </a:r>
          </a:p>
        </p:txBody>
      </p:sp>
      <p:sp>
        <p:nvSpPr>
          <p:cNvPr id="9" name="Documenttype">
            <a:extLst>
              <a:ext uri="{FF2B5EF4-FFF2-40B4-BE49-F238E27FC236}">
                <a16:creationId xmlns:a16="http://schemas.microsoft.com/office/drawing/2014/main" id="{471B611B-1A34-40DA-858C-A17382E7B04E}"/>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0" name="Documenttype">
            <a:extLst>
              <a:ext uri="{FF2B5EF4-FFF2-40B4-BE49-F238E27FC236}">
                <a16:creationId xmlns:a16="http://schemas.microsoft.com/office/drawing/2014/main" id="{049EDC94-1679-445E-8477-33C1D42EA00E}"/>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26885933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3FAC02B7-F3A7-43E5-BA0D-B93E4F705BDA}"/>
              </a:ext>
            </a:extLst>
          </p:cNvPr>
          <p:cNvGraphicFramePr>
            <a:graphicFrameLocks noChangeAspect="1"/>
          </p:cNvGraphicFramePr>
          <p:nvPr userDrawn="1">
            <p:custDataLst>
              <p:tags r:id="rId1"/>
            </p:custDataLst>
            <p:extLst>
              <p:ext uri="{D42A27DB-BD31-4B8C-83A1-F6EECF244321}">
                <p14:modId xmlns:p14="http://schemas.microsoft.com/office/powerpoint/2010/main" val="2935360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2" name="Object 2" hidden="1">
                        <a:extLst>
                          <a:ext uri="{FF2B5EF4-FFF2-40B4-BE49-F238E27FC236}">
                            <a16:creationId xmlns:a16="http://schemas.microsoft.com/office/drawing/2014/main" id="{3FAC02B7-F3A7-43E5-BA0D-B93E4F705BD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2. Slide Title">
            <a:extLst>
              <a:ext uri="{FF2B5EF4-FFF2-40B4-BE49-F238E27FC236}">
                <a16:creationId xmlns:a16="http://schemas.microsoft.com/office/drawing/2014/main" id="{1B68EE87-A0DD-496A-B10C-EF1715597DFA}"/>
              </a:ext>
            </a:extLst>
          </p:cNvPr>
          <p:cNvSpPr>
            <a:spLocks noGrp="1"/>
          </p:cNvSpPr>
          <p:nvPr>
            <p:ph type="title"/>
            <p:custDataLst>
              <p:tags r:id="rId2"/>
            </p:custDataLst>
          </p:nvPr>
        </p:nvSpPr>
        <p:spPr>
          <a:xfrm>
            <a:off x="416052" y="173736"/>
            <a:ext cx="8311896" cy="338554"/>
          </a:xfrm>
        </p:spPr>
        <p:txBody>
          <a:bodyPr vert="horz" wrap="square" lIns="0" tIns="0" rIns="0" bIns="0" rtlCol="0" anchor="t" anchorCtr="0">
            <a:spAutoFit/>
          </a:bodyPr>
          <a:lstStyle>
            <a:lvl1pPr>
              <a:defRPr lang="en-US" dirty="0"/>
            </a:lvl1pPr>
          </a:lstStyle>
          <a:p>
            <a:pPr lvl="0"/>
            <a:endParaRPr lang="en-US" dirty="0"/>
          </a:p>
        </p:txBody>
      </p:sp>
      <p:sp>
        <p:nvSpPr>
          <p:cNvPr id="11" name="3. Subtitle">
            <a:extLst>
              <a:ext uri="{FF2B5EF4-FFF2-40B4-BE49-F238E27FC236}">
                <a16:creationId xmlns:a16="http://schemas.microsoft.com/office/drawing/2014/main" id="{9058D7A1-E2D0-422A-B35F-8D916C606E0F}"/>
              </a:ext>
            </a:extLst>
          </p:cNvPr>
          <p:cNvSpPr>
            <a:spLocks noGrp="1"/>
          </p:cNvSpPr>
          <p:nvPr>
            <p:ph type="subTitle" idx="1"/>
            <p:custDataLst>
              <p:tags r:id="rId3"/>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74896738-E4EE-4DCC-84BD-BB0E08A2B485}"/>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FB1680F4-369F-4981-8CAE-002836A16EB7}"/>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D67FF705-F1CE-4ABC-A914-F9AC412C19E3}"/>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8EFC1666-67C8-4619-A502-4C9EABE7251E}"/>
              </a:ext>
            </a:extLst>
          </p:cNvPr>
          <p:cNvGraphicFramePr>
            <a:graphicFrameLocks noChangeAspect="1"/>
          </p:cNvGraphicFramePr>
          <p:nvPr userDrawn="1">
            <p:custDataLst>
              <p:tags r:id="rId1"/>
            </p:custDataLst>
            <p:extLst>
              <p:ext uri="{D42A27DB-BD31-4B8C-83A1-F6EECF244321}">
                <p14:modId xmlns:p14="http://schemas.microsoft.com/office/powerpoint/2010/main" val="3535191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2" hidden="1">
                        <a:extLst>
                          <a:ext uri="{FF2B5EF4-FFF2-40B4-BE49-F238E27FC236}">
                            <a16:creationId xmlns:a16="http://schemas.microsoft.com/office/drawing/2014/main" id="{8EFC1666-67C8-4619-A502-4C9EABE7251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181D8877-9D16-468C-8A9C-9AF2AF95B7A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Slide Number">
            <a:extLst>
              <a:ext uri="{FF2B5EF4-FFF2-40B4-BE49-F238E27FC236}">
                <a16:creationId xmlns:a16="http://schemas.microsoft.com/office/drawing/2014/main" id="{D9158D3F-8458-4670-99AD-89F5B9E6157E}"/>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5" name="5. Source" hidden="1">
            <a:extLst>
              <a:ext uri="{FF2B5EF4-FFF2-40B4-BE49-F238E27FC236}">
                <a16:creationId xmlns:a16="http://schemas.microsoft.com/office/drawing/2014/main" id="{7E354FC4-29D1-43C5-B30D-212C6D407B3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1472ABA9-73A7-4321-9BA4-B0A05F926A3B}"/>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4EFC8312-321C-479B-BE15-0CD5212DEAED}"/>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dirty="0"/>
              <a:t>Click to edit Master title style</a:t>
            </a:r>
          </a:p>
        </p:txBody>
      </p:sp>
    </p:spTree>
    <p:extLst>
      <p:ext uri="{BB962C8B-B14F-4D97-AF65-F5344CB8AC3E}">
        <p14:creationId xmlns:p14="http://schemas.microsoft.com/office/powerpoint/2010/main" val="9219664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BDF039-8FE5-43FC-8CA5-4A0ECC5294D7}"/>
              </a:ext>
            </a:extLst>
          </p:cNvPr>
          <p:cNvGraphicFramePr>
            <a:graphicFrameLocks noChangeAspect="1"/>
          </p:cNvGraphicFramePr>
          <p:nvPr userDrawn="1">
            <p:custDataLst>
              <p:tags r:id="rId1"/>
            </p:custDataLst>
            <p:extLst>
              <p:ext uri="{D42A27DB-BD31-4B8C-83A1-F6EECF244321}">
                <p14:modId xmlns:p14="http://schemas.microsoft.com/office/powerpoint/2010/main" val="2732008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71BDF039-8FE5-43FC-8CA5-4A0ECC5294D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4BEDAF5B-C388-43C9-8126-AACE1FFD942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E3FAB087-0C8E-42E4-AAD6-429CA1E2785F}"/>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EF71AA55-AF82-45C2-8B75-DF470F9CFD4B}"/>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6066AB4D-AC40-49A2-B3AC-3478F2486DE1}"/>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8DE9464D-8BC5-4E72-841F-6E4DE75935BC}"/>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dirty="0"/>
              <a:t>Click to edit Master title style</a:t>
            </a:r>
          </a:p>
        </p:txBody>
      </p:sp>
    </p:spTree>
    <p:extLst>
      <p:ext uri="{BB962C8B-B14F-4D97-AF65-F5344CB8AC3E}">
        <p14:creationId xmlns:p14="http://schemas.microsoft.com/office/powerpoint/2010/main" val="35282945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1388242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19952346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92AD44-1068-4407-82DC-DD4442ED5355}"/>
              </a:ext>
            </a:extLst>
          </p:cNvPr>
          <p:cNvGraphicFramePr>
            <a:graphicFrameLocks noChangeAspect="1"/>
          </p:cNvGraphicFramePr>
          <p:nvPr userDrawn="1">
            <p:custDataLst>
              <p:tags r:id="rId1"/>
            </p:custDataLst>
            <p:extLst>
              <p:ext uri="{D42A27DB-BD31-4B8C-83A1-F6EECF244321}">
                <p14:modId xmlns:p14="http://schemas.microsoft.com/office/powerpoint/2010/main" val="728741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6C92AD44-1068-4407-82DC-DD4442ED535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60A37EB2-B222-4484-9B37-B0E9C3B53CB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44FA9C5C-3D02-4606-ACC6-45B274125E1D}"/>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50A4CE5E-EA69-462D-9378-162A6B31401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9" name="1. On-page tracker">
            <a:extLst>
              <a:ext uri="{FF2B5EF4-FFF2-40B4-BE49-F238E27FC236}">
                <a16:creationId xmlns:a16="http://schemas.microsoft.com/office/drawing/2014/main" id="{58B798B6-D717-47E0-B368-C3CA28559FB0}"/>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05B2E962-4491-428B-87A4-18F9FA41F83C}"/>
              </a:ext>
            </a:extLst>
          </p:cNvPr>
          <p:cNvSpPr>
            <a:spLocks noGrp="1"/>
          </p:cNvSpPr>
          <p:nvPr>
            <p:ph type="title"/>
            <p:custDataLst>
              <p:tags r:id="rId6"/>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Tree>
    <p:extLst>
      <p:ext uri="{BB962C8B-B14F-4D97-AF65-F5344CB8AC3E}">
        <p14:creationId xmlns:p14="http://schemas.microsoft.com/office/powerpoint/2010/main" val="37750153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3B92AD-52C0-4565-A853-E755058C5D4D}"/>
              </a:ext>
            </a:extLst>
          </p:cNvPr>
          <p:cNvGraphicFramePr>
            <a:graphicFrameLocks noChangeAspect="1"/>
          </p:cNvGraphicFramePr>
          <p:nvPr userDrawn="1">
            <p:custDataLst>
              <p:tags r:id="rId1"/>
            </p:custDataLst>
            <p:extLst>
              <p:ext uri="{D42A27DB-BD31-4B8C-83A1-F6EECF244321}">
                <p14:modId xmlns:p14="http://schemas.microsoft.com/office/powerpoint/2010/main" val="2433790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A73B92AD-52C0-4565-A853-E755058C5D4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C0DB32B1-6462-418E-A91E-73704A189637}"/>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EE1D4303-4599-4610-BC17-19AA3BD4D3B9}"/>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CD0FB57B-4505-4ECE-8CC1-292C1CC5262A}"/>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B17DDF26-3EA4-4096-ABDB-61F6A722737D}"/>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380D58AB-4F08-4944-8771-719D0FE78FD8}"/>
              </a:ext>
            </a:extLst>
          </p:cNvPr>
          <p:cNvSpPr>
            <a:spLocks noGrp="1"/>
          </p:cNvSpPr>
          <p:nvPr>
            <p:ph type="title"/>
            <p:custDataLst>
              <p:tags r:id="rId6"/>
            </p:custDataLst>
          </p:nvPr>
        </p:nvSpPr>
        <p:spPr>
          <a:xfrm>
            <a:off x="1129284" y="3841050"/>
            <a:ext cx="6885432" cy="330796"/>
          </a:xfrm>
        </p:spPr>
        <p:txBody>
          <a:bodyPr anchor="b" anchorCtr="0">
            <a:spAutoFit/>
          </a:bodyPr>
          <a:lstStyle>
            <a:lvl1pPr>
              <a:lnSpc>
                <a:spcPct val="105000"/>
              </a:lnSpc>
              <a:defRPr sz="2200"/>
            </a:lvl1pPr>
          </a:lstStyle>
          <a:p>
            <a:r>
              <a:rPr lang="en-US" dirty="0"/>
              <a:t>Click to edit Master title style</a:t>
            </a:r>
          </a:p>
        </p:txBody>
      </p:sp>
      <p:sp>
        <p:nvSpPr>
          <p:cNvPr id="14" name="3. Subtitle">
            <a:extLst>
              <a:ext uri="{FF2B5EF4-FFF2-40B4-BE49-F238E27FC236}">
                <a16:creationId xmlns:a16="http://schemas.microsoft.com/office/drawing/2014/main" id="{46190879-86E2-45D0-A286-E851B958D8F9}"/>
              </a:ext>
            </a:extLst>
          </p:cNvPr>
          <p:cNvSpPr>
            <a:spLocks noGrp="1"/>
          </p:cNvSpPr>
          <p:nvPr>
            <p:ph type="subTitle" idx="1" hasCustomPrompt="1"/>
            <p:custDataLst>
              <p:tags r:id="rId7"/>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Tree>
    <p:extLst>
      <p:ext uri="{BB962C8B-B14F-4D97-AF65-F5344CB8AC3E}">
        <p14:creationId xmlns:p14="http://schemas.microsoft.com/office/powerpoint/2010/main" val="23126788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5BA7DA3C-445E-4932-9B65-4D6A0D20A4C2}"/>
              </a:ext>
            </a:extLst>
          </p:cNvPr>
          <p:cNvGraphicFramePr>
            <a:graphicFrameLocks noChangeAspect="1"/>
          </p:cNvGraphicFramePr>
          <p:nvPr userDrawn="1">
            <p:custDataLst>
              <p:tags r:id="rId1"/>
            </p:custDataLst>
            <p:extLst>
              <p:ext uri="{D42A27DB-BD31-4B8C-83A1-F6EECF244321}">
                <p14:modId xmlns:p14="http://schemas.microsoft.com/office/powerpoint/2010/main" val="1196282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2" name="Object 2" hidden="1">
                        <a:extLst>
                          <a:ext uri="{FF2B5EF4-FFF2-40B4-BE49-F238E27FC236}">
                            <a16:creationId xmlns:a16="http://schemas.microsoft.com/office/drawing/2014/main" id="{5BA7DA3C-445E-4932-9B65-4D6A0D20A4C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BCA400D-E795-4965-B6FF-7E4C76276D0E}"/>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2560320" y="0"/>
            <a:ext cx="658368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chemeClr val="bg2"/>
              </a:solidFill>
              <a:latin typeface="Arial" panose="020B0604020202020204" pitchFamily="34" charset="0"/>
            </a:endParaRPr>
          </a:p>
        </p:txBody>
      </p:sp>
      <p:sp>
        <p:nvSpPr>
          <p:cNvPr id="21" name="Slide Number">
            <a:extLst>
              <a:ext uri="{FF2B5EF4-FFF2-40B4-BE49-F238E27FC236}">
                <a16:creationId xmlns:a16="http://schemas.microsoft.com/office/drawing/2014/main" id="{B6F6B5A9-EC5A-427A-B722-8D754533C6CA}"/>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A81F4F49-6397-4B3D-8469-48AF4D7694B7}"/>
              </a:ext>
            </a:extLst>
          </p:cNvPr>
          <p:cNvSpPr txBox="1">
            <a:spLocks/>
          </p:cNvSpPr>
          <p:nvPr userDrawn="1">
            <p:custDataLst>
              <p:tags r:id="rId5"/>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1" name="1. On-page tracker">
            <a:extLst>
              <a:ext uri="{FF2B5EF4-FFF2-40B4-BE49-F238E27FC236}">
                <a16:creationId xmlns:a16="http://schemas.microsoft.com/office/drawing/2014/main" id="{40380317-DD9B-4DD3-9D54-4A3DD7595D08}"/>
              </a:ext>
            </a:extLst>
          </p:cNvPr>
          <p:cNvSpPr>
            <a:spLocks noGrp="1"/>
          </p:cNvSpPr>
          <p:nvPr>
            <p:ph type="body" sz="quarter" idx="10" hasCustomPrompt="1"/>
            <p:custDataLst>
              <p:tags r:id="rId6"/>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solidFill>
                  <a:schemeClr val="bg2"/>
                </a:solidFill>
                <a:cs typeface="+mn-cs"/>
              </a:defRPr>
            </a:lvl1pPr>
          </a:lstStyle>
          <a:p>
            <a:pPr lvl="0"/>
            <a:r>
              <a:rPr lang="en-US" dirty="0"/>
              <a:t>Add tracker</a:t>
            </a:r>
          </a:p>
        </p:txBody>
      </p:sp>
      <p:sp>
        <p:nvSpPr>
          <p:cNvPr id="12" name="3. Subtitle">
            <a:extLst>
              <a:ext uri="{FF2B5EF4-FFF2-40B4-BE49-F238E27FC236}">
                <a16:creationId xmlns:a16="http://schemas.microsoft.com/office/drawing/2014/main" id="{1FD3FB1A-C225-4F53-BD89-A89916FB5971}"/>
              </a:ext>
            </a:extLst>
          </p:cNvPr>
          <p:cNvSpPr>
            <a:spLocks noGrp="1"/>
          </p:cNvSpPr>
          <p:nvPr>
            <p:ph type="subTitle" idx="1"/>
            <p:custDataLst>
              <p:tags r:id="rId7"/>
            </p:custDataLst>
          </p:nvPr>
        </p:nvSpPr>
        <p:spPr>
          <a:xfrm>
            <a:off x="411163" y="3636552"/>
            <a:ext cx="1890839" cy="492443"/>
          </a:xfrm>
        </p:spPr>
        <p:txBody>
          <a:bodyPr wrap="square">
            <a:no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13" name="2. Slide Title">
            <a:extLst>
              <a:ext uri="{FF2B5EF4-FFF2-40B4-BE49-F238E27FC236}">
                <a16:creationId xmlns:a16="http://schemas.microsoft.com/office/drawing/2014/main" id="{0FAAF3CD-7EDD-4C58-BA1E-ECC94B13C412}"/>
              </a:ext>
            </a:extLst>
          </p:cNvPr>
          <p:cNvSpPr>
            <a:spLocks noGrp="1"/>
          </p:cNvSpPr>
          <p:nvPr>
            <p:ph type="title"/>
            <p:custDataLst>
              <p:tags r:id="rId8"/>
            </p:custDataLst>
          </p:nvPr>
        </p:nvSpPr>
        <p:spPr>
          <a:xfrm>
            <a:off x="411163" y="2502261"/>
            <a:ext cx="1890839" cy="1015663"/>
          </a:xfrm>
        </p:spPr>
        <p:txBody>
          <a:bodyPr anchor="b">
            <a:noAutofit/>
          </a:bodyPr>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9438077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EE7D76-85C8-41A6-9EB9-D68C83480BB5}"/>
              </a:ext>
            </a:extLst>
          </p:cNvPr>
          <p:cNvGraphicFramePr>
            <a:graphicFrameLocks noChangeAspect="1"/>
          </p:cNvGraphicFramePr>
          <p:nvPr userDrawn="1">
            <p:custDataLst>
              <p:tags r:id="rId1"/>
            </p:custDataLst>
            <p:extLst>
              <p:ext uri="{D42A27DB-BD31-4B8C-83A1-F6EECF244321}">
                <p14:modId xmlns:p14="http://schemas.microsoft.com/office/powerpoint/2010/main" val="994129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3EE7D76-85C8-41A6-9EB9-D68C83480BB5}"/>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E9A7D48-0E65-43DC-8D8A-493429E6AE78}"/>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273552" y="0"/>
            <a:ext cx="58704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chemeClr val="bg2"/>
              </a:solidFill>
              <a:latin typeface="Arial" panose="020B0604020202020204" pitchFamily="34" charset="0"/>
            </a:endParaRPr>
          </a:p>
        </p:txBody>
      </p:sp>
      <p:sp>
        <p:nvSpPr>
          <p:cNvPr id="24" name="Slide Number">
            <a:extLst>
              <a:ext uri="{FF2B5EF4-FFF2-40B4-BE49-F238E27FC236}">
                <a16:creationId xmlns:a16="http://schemas.microsoft.com/office/drawing/2014/main" id="{C4E25F3C-FC12-4C7B-8690-F099943594C0}"/>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3E55EE9-E402-4188-A74D-AB30DFB160AA}"/>
              </a:ext>
            </a:extLst>
          </p:cNvPr>
          <p:cNvSpPr txBox="1">
            <a:spLocks/>
          </p:cNvSpPr>
          <p:nvPr userDrawn="1">
            <p:custDataLst>
              <p:tags r:id="rId5"/>
            </p:custDataLst>
          </p:nvPr>
        </p:nvSpPr>
        <p:spPr>
          <a:xfrm>
            <a:off x="416052" y="6501669"/>
            <a:ext cx="2596896"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1" name="1. On-page tracker">
            <a:extLst>
              <a:ext uri="{FF2B5EF4-FFF2-40B4-BE49-F238E27FC236}">
                <a16:creationId xmlns:a16="http://schemas.microsoft.com/office/drawing/2014/main" id="{5E637D0B-19D9-4D07-8530-7E6D4C652B0E}"/>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r>
              <a:rPr lang="en-US" dirty="0"/>
              <a:t>Add tracker</a:t>
            </a:r>
          </a:p>
        </p:txBody>
      </p:sp>
      <p:sp>
        <p:nvSpPr>
          <p:cNvPr id="12" name="2. Slide Title">
            <a:extLst>
              <a:ext uri="{FF2B5EF4-FFF2-40B4-BE49-F238E27FC236}">
                <a16:creationId xmlns:a16="http://schemas.microsoft.com/office/drawing/2014/main" id="{A51FD86C-D251-419F-9775-53D68C43FDCE}"/>
              </a:ext>
            </a:extLst>
          </p:cNvPr>
          <p:cNvSpPr>
            <a:spLocks noGrp="1"/>
          </p:cNvSpPr>
          <p:nvPr>
            <p:ph type="title"/>
            <p:custDataLst>
              <p:tags r:id="rId7"/>
            </p:custDataLst>
          </p:nvPr>
        </p:nvSpPr>
        <p:spPr>
          <a:xfrm>
            <a:off x="411163" y="2840816"/>
            <a:ext cx="2607005" cy="677108"/>
          </a:xfrm>
        </p:spPr>
        <p:txBody>
          <a:bodyPr anchor="b">
            <a:spAutoFit/>
          </a:bodyPr>
          <a:lstStyle>
            <a:lvl1pPr>
              <a:defRPr>
                <a:solidFill>
                  <a:schemeClr val="bg2"/>
                </a:solidFill>
              </a:defRPr>
            </a:lvl1pPr>
          </a:lstStyle>
          <a:p>
            <a:r>
              <a:rPr lang="en-US" dirty="0"/>
              <a:t>Click to edit Master title style</a:t>
            </a:r>
          </a:p>
        </p:txBody>
      </p:sp>
      <p:sp>
        <p:nvSpPr>
          <p:cNvPr id="13" name="3. Subtitle">
            <a:extLst>
              <a:ext uri="{FF2B5EF4-FFF2-40B4-BE49-F238E27FC236}">
                <a16:creationId xmlns:a16="http://schemas.microsoft.com/office/drawing/2014/main" id="{DF57960B-4081-42D3-9593-9DF9A01A8DB8}"/>
              </a:ext>
            </a:extLst>
          </p:cNvPr>
          <p:cNvSpPr>
            <a:spLocks noGrp="1"/>
          </p:cNvSpPr>
          <p:nvPr>
            <p:ph type="subTitle" idx="1"/>
            <p:custDataLst>
              <p:tags r:id="rId8"/>
            </p:custDataLst>
          </p:nvPr>
        </p:nvSpPr>
        <p:spPr>
          <a:xfrm>
            <a:off x="411163" y="3636552"/>
            <a:ext cx="2596896" cy="492443"/>
          </a:xfrm>
        </p:spPr>
        <p:txBody>
          <a:bodyPr wrap="square">
            <a:noAutofit/>
          </a:bodyPr>
          <a:lstStyle>
            <a:lvl1pPr marL="0" indent="0" algn="l">
              <a:buNone/>
              <a:defRPr sz="16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Tree>
    <p:extLst>
      <p:ext uri="{BB962C8B-B14F-4D97-AF65-F5344CB8AC3E}">
        <p14:creationId xmlns:p14="http://schemas.microsoft.com/office/powerpoint/2010/main" val="31287880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17137B-26E9-42DA-94F7-D7AF0F52C4B6}"/>
              </a:ext>
            </a:extLst>
          </p:cNvPr>
          <p:cNvGraphicFramePr>
            <a:graphicFrameLocks noChangeAspect="1"/>
          </p:cNvGraphicFramePr>
          <p:nvPr userDrawn="1">
            <p:custDataLst>
              <p:tags r:id="rId1"/>
            </p:custDataLst>
            <p:extLst>
              <p:ext uri="{D42A27DB-BD31-4B8C-83A1-F6EECF244321}">
                <p14:modId xmlns:p14="http://schemas.microsoft.com/office/powerpoint/2010/main" val="1628287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817137B-26E9-42DA-94F7-D7AF0F52C4B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2165A603-C9EA-4311-A3EC-F68767B7C5C1}"/>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BB1212C4-056D-4A20-884D-EF89127DE9F8}"/>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6C7A622-8483-4B87-87E0-9F2667994F19}"/>
              </a:ext>
            </a:extLst>
          </p:cNvPr>
          <p:cNvSpPr txBox="1">
            <a:spLocks/>
          </p:cNvSpPr>
          <p:nvPr userDrawn="1">
            <p:custDataLst>
              <p:tags r:id="rId5"/>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1" name="1. On-page tracker">
            <a:extLst>
              <a:ext uri="{FF2B5EF4-FFF2-40B4-BE49-F238E27FC236}">
                <a16:creationId xmlns:a16="http://schemas.microsoft.com/office/drawing/2014/main" id="{F41D59B4-4CC5-465C-B42F-EE64766CDDE8}"/>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r>
              <a:rPr lang="en-US" dirty="0"/>
              <a:t>Add tracker</a:t>
            </a:r>
          </a:p>
        </p:txBody>
      </p:sp>
      <p:sp>
        <p:nvSpPr>
          <p:cNvPr id="12" name="2. Slide Title">
            <a:extLst>
              <a:ext uri="{FF2B5EF4-FFF2-40B4-BE49-F238E27FC236}">
                <a16:creationId xmlns:a16="http://schemas.microsoft.com/office/drawing/2014/main" id="{122519FC-9CF0-4086-A9C4-A8B994B41403}"/>
              </a:ext>
            </a:extLst>
          </p:cNvPr>
          <p:cNvSpPr>
            <a:spLocks noGrp="1"/>
          </p:cNvSpPr>
          <p:nvPr>
            <p:ph type="title"/>
            <p:custDataLst>
              <p:tags r:id="rId7"/>
            </p:custDataLst>
          </p:nvPr>
        </p:nvSpPr>
        <p:spPr>
          <a:xfrm>
            <a:off x="416052" y="173736"/>
            <a:ext cx="3869385" cy="338554"/>
          </a:xfrm>
        </p:spPr>
        <p:txBody>
          <a:bodyPr wrap="square">
            <a:spAutoFit/>
          </a:bodyPr>
          <a:lstStyle>
            <a:lvl1pPr>
              <a:defRPr>
                <a:solidFill>
                  <a:schemeClr val="bg2"/>
                </a:solidFill>
              </a:defRPr>
            </a:lvl1pPr>
          </a:lstStyle>
          <a:p>
            <a:r>
              <a:rPr lang="en-US" dirty="0"/>
              <a:t>Click to edit Master title style</a:t>
            </a:r>
          </a:p>
        </p:txBody>
      </p:sp>
      <p:sp>
        <p:nvSpPr>
          <p:cNvPr id="13" name="3. Subtitle">
            <a:extLst>
              <a:ext uri="{FF2B5EF4-FFF2-40B4-BE49-F238E27FC236}">
                <a16:creationId xmlns:a16="http://schemas.microsoft.com/office/drawing/2014/main" id="{ECB780D1-3E2B-4565-A6F9-A030B7CCCCE8}"/>
              </a:ext>
            </a:extLst>
          </p:cNvPr>
          <p:cNvSpPr>
            <a:spLocks noGrp="1"/>
          </p:cNvSpPr>
          <p:nvPr>
            <p:ph type="subTitle" idx="1"/>
            <p:custDataLst>
              <p:tags r:id="rId8"/>
            </p:custDataLst>
          </p:nvPr>
        </p:nvSpPr>
        <p:spPr>
          <a:xfrm>
            <a:off x="416052" y="525928"/>
            <a:ext cx="3869385" cy="246221"/>
          </a:xfrm>
          <a:prstGeom prst="rect">
            <a:avLst/>
          </a:prstGeom>
        </p:spPr>
        <p:txBody>
          <a:bodyPr wrap="square">
            <a:noAutofit/>
          </a:bodyPr>
          <a:lstStyle>
            <a:lvl1pPr marL="0" indent="0" algn="l">
              <a:buNone/>
              <a:defRPr sz="16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2247193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7FA6AD-EDA1-41F4-A94A-AFE1CDAACEAF}"/>
              </a:ext>
            </a:extLst>
          </p:cNvPr>
          <p:cNvGraphicFramePr>
            <a:graphicFrameLocks noChangeAspect="1"/>
          </p:cNvGraphicFramePr>
          <p:nvPr userDrawn="1">
            <p:custDataLst>
              <p:tags r:id="rId1"/>
            </p:custDataLst>
            <p:extLst>
              <p:ext uri="{D42A27DB-BD31-4B8C-83A1-F6EECF244321}">
                <p14:modId xmlns:p14="http://schemas.microsoft.com/office/powerpoint/2010/main" val="1377291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A07FA6AD-EDA1-41F4-A94A-AFE1CDAACEA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0F0071F0-53F4-436B-8550-E862D0B41360}"/>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5" name="Slide Number">
            <a:extLst>
              <a:ext uri="{FF2B5EF4-FFF2-40B4-BE49-F238E27FC236}">
                <a16:creationId xmlns:a16="http://schemas.microsoft.com/office/drawing/2014/main" id="{B3820AF2-F01B-4516-A988-BDB56C82C06B}"/>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3C1B7EA2-0CD8-4209-B849-B1928AC0D528}"/>
              </a:ext>
            </a:extLst>
          </p:cNvPr>
          <p:cNvSpPr txBox="1">
            <a:spLocks/>
          </p:cNvSpPr>
          <p:nvPr userDrawn="1">
            <p:custDataLst>
              <p:tags r:id="rId5"/>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solidFill>
                  <a:schemeClr val="bg2"/>
                </a:solidFill>
              </a:rPr>
              <a:t>Source: …</a:t>
            </a:r>
          </a:p>
        </p:txBody>
      </p:sp>
      <p:sp>
        <p:nvSpPr>
          <p:cNvPr id="11" name="1. On-page tracker">
            <a:extLst>
              <a:ext uri="{FF2B5EF4-FFF2-40B4-BE49-F238E27FC236}">
                <a16:creationId xmlns:a16="http://schemas.microsoft.com/office/drawing/2014/main" id="{D034326F-B789-4AA1-A5B0-6F18B0280498}"/>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r>
              <a:rPr lang="en-US" dirty="0"/>
              <a:t>Add tracker</a:t>
            </a:r>
          </a:p>
        </p:txBody>
      </p:sp>
      <p:sp>
        <p:nvSpPr>
          <p:cNvPr id="12" name="2. Slide Title">
            <a:extLst>
              <a:ext uri="{FF2B5EF4-FFF2-40B4-BE49-F238E27FC236}">
                <a16:creationId xmlns:a16="http://schemas.microsoft.com/office/drawing/2014/main" id="{D944E0A9-A3EA-46D9-ADD9-4EB81E273B21}"/>
              </a:ext>
            </a:extLst>
          </p:cNvPr>
          <p:cNvSpPr>
            <a:spLocks noGrp="1"/>
          </p:cNvSpPr>
          <p:nvPr>
            <p:ph type="title"/>
            <p:custDataLst>
              <p:tags r:id="rId7"/>
            </p:custDataLst>
          </p:nvPr>
        </p:nvSpPr>
        <p:spPr>
          <a:xfrm>
            <a:off x="416052" y="173736"/>
            <a:ext cx="5225477" cy="338554"/>
          </a:xfrm>
        </p:spPr>
        <p:txBody>
          <a:bodyPr>
            <a:noAutofit/>
          </a:bodyPr>
          <a:lstStyle>
            <a:lvl1pPr>
              <a:defRPr>
                <a:solidFill>
                  <a:schemeClr val="bg2"/>
                </a:solidFill>
              </a:defRPr>
            </a:lvl1pPr>
          </a:lstStyle>
          <a:p>
            <a:r>
              <a:rPr lang="en-US" dirty="0"/>
              <a:t>Click to edit Master title style</a:t>
            </a:r>
          </a:p>
        </p:txBody>
      </p:sp>
      <p:sp>
        <p:nvSpPr>
          <p:cNvPr id="13" name="3. Subtitle">
            <a:extLst>
              <a:ext uri="{FF2B5EF4-FFF2-40B4-BE49-F238E27FC236}">
                <a16:creationId xmlns:a16="http://schemas.microsoft.com/office/drawing/2014/main" id="{6E669794-8AC7-453E-A1CC-88738056B9EB}"/>
              </a:ext>
            </a:extLst>
          </p:cNvPr>
          <p:cNvSpPr>
            <a:spLocks noGrp="1"/>
          </p:cNvSpPr>
          <p:nvPr>
            <p:ph type="subTitle" idx="1"/>
            <p:custDataLst>
              <p:tags r:id="rId8"/>
            </p:custDataLst>
          </p:nvPr>
        </p:nvSpPr>
        <p:spPr>
          <a:xfrm>
            <a:off x="416052" y="525928"/>
            <a:ext cx="5225477" cy="246221"/>
          </a:xfrm>
          <a:prstGeom prst="rect">
            <a:avLst/>
          </a:prstGeom>
        </p:spPr>
        <p:txBody>
          <a:bodyPr wrap="square">
            <a:noAutofit/>
          </a:bodyPr>
          <a:lstStyle>
            <a:lvl1pPr marL="0" indent="0" algn="l">
              <a:buNone/>
              <a:defRPr sz="1600" b="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1695030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1"/>
            </p:custDataLst>
            <p:extLst>
              <p:ext uri="{D42A27DB-BD31-4B8C-83A1-F6EECF244321}">
                <p14:modId xmlns:p14="http://schemas.microsoft.com/office/powerpoint/2010/main" val="299257107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0" imgW="473" imgH="473" progId="TCLayout.ActiveDocument.1">
                  <p:embed/>
                </p:oleObj>
              </mc:Choice>
              <mc:Fallback>
                <p:oleObj name="think-cell Slide" r:id="rId10"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83534B5-88C0-4A63-97A0-468E34B707BD}"/>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3"/>
            </p:custDataLst>
          </p:nvPr>
        </p:nvSpPr>
        <p:spPr bwMode="ltGray">
          <a:xfrm>
            <a:off x="6586062" y="0"/>
            <a:ext cx="255793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31" name="Slide Number">
            <a:extLst>
              <a:ext uri="{FF2B5EF4-FFF2-40B4-BE49-F238E27FC236}">
                <a16:creationId xmlns:a16="http://schemas.microsoft.com/office/drawing/2014/main" id="{379D2FC5-7414-4BC9-B4BF-9AF5FD6513F6}"/>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1C8D134F-A731-4739-8143-D2686DEB74D2}"/>
              </a:ext>
            </a:extLst>
          </p:cNvPr>
          <p:cNvSpPr txBox="1">
            <a:spLocks/>
          </p:cNvSpPr>
          <p:nvPr userDrawn="1">
            <p:custDataLst>
              <p:tags r:id="rId5"/>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solidFill>
                  <a:schemeClr val="bg2"/>
                </a:solidFill>
              </a:rPr>
              <a:t>Source: …</a:t>
            </a:r>
          </a:p>
        </p:txBody>
      </p:sp>
      <p:sp>
        <p:nvSpPr>
          <p:cNvPr id="11" name="1. On-page tracker">
            <a:extLst>
              <a:ext uri="{FF2B5EF4-FFF2-40B4-BE49-F238E27FC236}">
                <a16:creationId xmlns:a16="http://schemas.microsoft.com/office/drawing/2014/main" id="{55319B61-A433-4501-B07D-11941ABA824E}"/>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r>
              <a:rPr lang="en-US" dirty="0"/>
              <a:t>Add tracker</a:t>
            </a:r>
          </a:p>
        </p:txBody>
      </p:sp>
      <p:sp>
        <p:nvSpPr>
          <p:cNvPr id="12" name="2. Slide Title">
            <a:extLst>
              <a:ext uri="{FF2B5EF4-FFF2-40B4-BE49-F238E27FC236}">
                <a16:creationId xmlns:a16="http://schemas.microsoft.com/office/drawing/2014/main" id="{FEADE91D-2ED8-4100-AE37-092B06AD3725}"/>
              </a:ext>
            </a:extLst>
          </p:cNvPr>
          <p:cNvSpPr>
            <a:spLocks noGrp="1"/>
          </p:cNvSpPr>
          <p:nvPr>
            <p:ph type="title"/>
            <p:custDataLst>
              <p:tags r:id="rId7"/>
            </p:custDataLst>
          </p:nvPr>
        </p:nvSpPr>
        <p:spPr>
          <a:xfrm>
            <a:off x="416052" y="173736"/>
            <a:ext cx="5943600" cy="338554"/>
          </a:xfrm>
        </p:spPr>
        <p:txBody>
          <a:bodyPr vert="horz" wrap="square" lIns="0" tIns="0" rIns="0" bIns="0" rtlCol="0" anchor="t" anchorCtr="0">
            <a:noAutofit/>
          </a:bodyPr>
          <a:lstStyle>
            <a:lvl1pPr>
              <a:defRPr lang="en-US" dirty="0">
                <a:solidFill>
                  <a:schemeClr val="bg2"/>
                </a:solidFill>
              </a:defRPr>
            </a:lvl1pPr>
          </a:lstStyle>
          <a:p>
            <a:pPr lvl="0"/>
            <a:r>
              <a:rPr lang="en-US" dirty="0"/>
              <a:t>Click to edit Master title style</a:t>
            </a:r>
          </a:p>
        </p:txBody>
      </p:sp>
      <p:sp>
        <p:nvSpPr>
          <p:cNvPr id="13" name="3. Subtitle">
            <a:extLst>
              <a:ext uri="{FF2B5EF4-FFF2-40B4-BE49-F238E27FC236}">
                <a16:creationId xmlns:a16="http://schemas.microsoft.com/office/drawing/2014/main" id="{8CA86431-7EC3-42D3-AB7D-A694A41C6C9C}"/>
              </a:ext>
            </a:extLst>
          </p:cNvPr>
          <p:cNvSpPr>
            <a:spLocks noGrp="1"/>
          </p:cNvSpPr>
          <p:nvPr>
            <p:ph type="subTitle" idx="1"/>
            <p:custDataLst>
              <p:tags r:id="rId8"/>
            </p:custDataLst>
          </p:nvPr>
        </p:nvSpPr>
        <p:spPr>
          <a:xfrm>
            <a:off x="416052" y="525928"/>
            <a:ext cx="5943600" cy="246221"/>
          </a:xfrm>
          <a:prstGeom prst="rect">
            <a:avLst/>
          </a:prstGeom>
        </p:spPr>
        <p:txBody>
          <a:bodyPr vert="horz" wrap="square" lIns="0" tIns="0" rIns="0" bIns="0" rtlCol="0">
            <a:noAutofit/>
          </a:bodyPr>
          <a:lstStyle>
            <a:lvl1pPr>
              <a:defRPr lang="en-US" sz="1600" dirty="0">
                <a:solidFill>
                  <a:schemeClr val="bg2"/>
                </a:solidFill>
              </a:defRPr>
            </a:lvl1pPr>
          </a:lstStyle>
          <a:p>
            <a:pPr lvl="0">
              <a:buNone/>
            </a:pPr>
            <a:r>
              <a:rPr lang="en-US" dirty="0"/>
              <a:t>Click to edit Master subtitle style</a:t>
            </a:r>
          </a:p>
        </p:txBody>
      </p:sp>
    </p:spTree>
    <p:extLst>
      <p:ext uri="{BB962C8B-B14F-4D97-AF65-F5344CB8AC3E}">
        <p14:creationId xmlns:p14="http://schemas.microsoft.com/office/powerpoint/2010/main" val="20908564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1" hidden="1">
            <a:extLst>
              <a:ext uri="{FF2B5EF4-FFF2-40B4-BE49-F238E27FC236}">
                <a16:creationId xmlns:a16="http://schemas.microsoft.com/office/drawing/2014/main" id="{FC76F2A2-1ABA-4A04-9B09-0337ED58F43E}"/>
              </a:ext>
            </a:extLst>
          </p:cNvPr>
          <p:cNvGraphicFramePr>
            <a:graphicFrameLocks noChangeAspect="1"/>
          </p:cNvGraphicFramePr>
          <p:nvPr userDrawn="1">
            <p:custDataLst>
              <p:tags r:id="rId1"/>
            </p:custDataLst>
            <p:extLst>
              <p:ext uri="{D42A27DB-BD31-4B8C-83A1-F6EECF244321}">
                <p14:modId xmlns:p14="http://schemas.microsoft.com/office/powerpoint/2010/main" val="940393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1" hidden="1">
                        <a:extLst>
                          <a:ext uri="{FF2B5EF4-FFF2-40B4-BE49-F238E27FC236}">
                            <a16:creationId xmlns:a16="http://schemas.microsoft.com/office/drawing/2014/main" id="{FC76F2A2-1ABA-4A04-9B09-0337ED58F43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BF2AB45-B29F-4A30-8BFF-9AB641C7A5CF}"/>
              </a:ext>
            </a:extLst>
          </p:cNvPr>
          <p:cNvSpPr/>
          <p:nvPr userDrawn="1">
            <p:custDataLst>
              <p:tags r:id="rId2"/>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dirty="0"/>
              <a:t>Click to edit Master title style</a:t>
            </a:r>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4"/>
            </p:custDataLst>
          </p:nvPr>
        </p:nvSpPr>
        <p:spPr bwMode="black">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47E4E1B2-7BEE-4850-9B22-8E9756066563}"/>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DD8848D6-BF42-4D5E-B951-2BE62FA6F588}"/>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10064834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9F4DBA6-D3B0-48EF-A7F6-B91F9D471962}"/>
              </a:ext>
            </a:extLst>
          </p:cNvPr>
          <p:cNvGraphicFramePr>
            <a:graphicFrameLocks noChangeAspect="1"/>
          </p:cNvGraphicFramePr>
          <p:nvPr userDrawn="1">
            <p:custDataLst>
              <p:tags r:id="rId1"/>
            </p:custDataLst>
            <p:extLst>
              <p:ext uri="{D42A27DB-BD31-4B8C-83A1-F6EECF244321}">
                <p14:modId xmlns:p14="http://schemas.microsoft.com/office/powerpoint/2010/main" val="1599892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79F4DBA6-D3B0-48EF-A7F6-B91F9D47196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4314F30F-D12A-4F12-9A27-219736E74FDA}"/>
              </a:ext>
            </a:extLst>
          </p:cNvPr>
          <p:cNvSpPr>
            <a:spLocks noChangeArrowheads="1"/>
          </p:cNvSpPr>
          <p:nvPr userDrawn="1">
            <p:custDataLst>
              <p:tags r:id="rId2"/>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DD4E823E-DF1B-436E-BC30-2B44F8356ACA}"/>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0CC233E2-5317-4D52-9C0D-8DB3AC55BB47}"/>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16798500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2D60A9-87F7-4095-BE4F-D6501EB81440}"/>
              </a:ext>
            </a:extLst>
          </p:cNvPr>
          <p:cNvGraphicFramePr>
            <a:graphicFrameLocks noChangeAspect="1"/>
          </p:cNvGraphicFramePr>
          <p:nvPr userDrawn="1">
            <p:custDataLst>
              <p:tags r:id="rId1"/>
            </p:custDataLst>
            <p:extLst>
              <p:ext uri="{D42A27DB-BD31-4B8C-83A1-F6EECF244321}">
                <p14:modId xmlns:p14="http://schemas.microsoft.com/office/powerpoint/2010/main" val="510198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312D60A9-87F7-4095-BE4F-D6501EB814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280A55D4-B754-41C0-9254-74244C7FC0FB}"/>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Tree>
    <p:extLst>
      <p:ext uri="{BB962C8B-B14F-4D97-AF65-F5344CB8AC3E}">
        <p14:creationId xmlns:p14="http://schemas.microsoft.com/office/powerpoint/2010/main" val="36779002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2"/>
            </p:custDataLst>
            <p:extLst>
              <p:ext uri="{D42A27DB-BD31-4B8C-83A1-F6EECF244321}">
                <p14:modId xmlns:p14="http://schemas.microsoft.com/office/powerpoint/2010/main" val="3574117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4"/>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5"/>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6"/>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7"/>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8"/>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16082243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17200456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22846300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4"/>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5"/>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6"/>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7"/>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8"/>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12257339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264512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078724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6"/>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00443471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6"/>
            </p:custDataLst>
          </p:nvPr>
        </p:nvSpPr>
        <p:spPr>
          <a:xfrm>
            <a:off x="1129284" y="3841050"/>
            <a:ext cx="6885432"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7"/>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8"/>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193530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2560320" y="0"/>
            <a:ext cx="658368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5"/>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6"/>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7"/>
            </p:custDataLst>
          </p:nvPr>
        </p:nvSpPr>
        <p:spPr>
          <a:xfrm>
            <a:off x="411163" y="3636552"/>
            <a:ext cx="189083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8"/>
            </p:custDataLst>
          </p:nvPr>
        </p:nvSpPr>
        <p:spPr>
          <a:xfrm>
            <a:off x="411163" y="2502261"/>
            <a:ext cx="189083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07890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5"/>
            </p:custDataLst>
          </p:nvPr>
        </p:nvSpPr>
        <p:spPr>
          <a:xfrm>
            <a:off x="416052" y="6501669"/>
            <a:ext cx="260700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7"/>
            </p:custDataLst>
          </p:nvPr>
        </p:nvSpPr>
        <p:spPr>
          <a:xfrm>
            <a:off x="411163" y="2840816"/>
            <a:ext cx="2607005"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8"/>
            </p:custDataLst>
          </p:nvPr>
        </p:nvSpPr>
        <p:spPr>
          <a:xfrm>
            <a:off x="411163" y="3636552"/>
            <a:ext cx="2596896"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2298182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5"/>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7"/>
            </p:custDataLst>
          </p:nvPr>
        </p:nvSpPr>
        <p:spPr>
          <a:xfrm>
            <a:off x="416052" y="173736"/>
            <a:ext cx="3869385"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8"/>
            </p:custDataLst>
          </p:nvPr>
        </p:nvSpPr>
        <p:spPr>
          <a:xfrm>
            <a:off x="416052" y="525928"/>
            <a:ext cx="3869385"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5017305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extLst>
              <p:ext uri="{D42A27DB-BD31-4B8C-83A1-F6EECF244321}">
                <p14:modId xmlns:p14="http://schemas.microsoft.com/office/powerpoint/2010/main" val="1945369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8524986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5"/>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7"/>
            </p:custDataLst>
          </p:nvPr>
        </p:nvSpPr>
        <p:spPr>
          <a:xfrm>
            <a:off x="416052" y="173736"/>
            <a:ext cx="5225477"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8"/>
            </p:custDataLst>
          </p:nvPr>
        </p:nvSpPr>
        <p:spPr>
          <a:xfrm>
            <a:off x="416052" y="525928"/>
            <a:ext cx="5225477"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8719376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5"/>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7"/>
            </p:custDataLst>
          </p:nvPr>
        </p:nvSpPr>
        <p:spPr>
          <a:xfrm>
            <a:off x="416052" y="173736"/>
            <a:ext cx="59436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8"/>
            </p:custDataLst>
          </p:nvPr>
        </p:nvSpPr>
        <p:spPr>
          <a:xfrm>
            <a:off x="416052" y="525928"/>
            <a:ext cx="59436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714792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4"/>
            </p:custDataLst>
          </p:nvPr>
        </p:nvSpPr>
        <p:spPr bwMode="black">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5631766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2"/>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5"/>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545827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3"/>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
        <p:nvSpPr>
          <p:cNvPr id="5" name="TextBox 4">
            <a:extLst>
              <a:ext uri="{FF2B5EF4-FFF2-40B4-BE49-F238E27FC236}">
                <a16:creationId xmlns:a16="http://schemas.microsoft.com/office/drawing/2014/main" id="{1B57B1F2-0D07-4497-BA4B-6E4153EF2D2A}"/>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30958399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22" y="1623"/>
          <a:ext cx="1619" cy="1619"/>
        </p:xfrm>
        <a:graphic>
          <a:graphicData uri="http://schemas.openxmlformats.org/presentationml/2006/ole">
            <mc:AlternateContent xmlns:mc="http://schemas.openxmlformats.org/markup-compatibility/2006">
              <mc:Choice xmlns:v="urn:schemas-microsoft-com:vml" Requires="v">
                <p:oleObj name="think-cell Slide" r:id="rId5" imgW="393" imgH="394" progId="TCLayout.ActiveDocument.1">
                  <p:embed/>
                </p:oleObj>
              </mc:Choice>
              <mc:Fallback>
                <p:oleObj name="think-cell Slide" r:id="rId5" imgW="393" imgH="394" progId="TCLayout.ActiveDocument.1">
                  <p:embed/>
                  <p:pic>
                    <p:nvPicPr>
                      <p:cNvPr id="3" name="Object 2" hidden="1"/>
                      <p:cNvPicPr/>
                      <p:nvPr/>
                    </p:nvPicPr>
                    <p:blipFill>
                      <a:blip r:embed="rId6"/>
                      <a:stretch>
                        <a:fillRect/>
                      </a:stretch>
                    </p:blipFill>
                    <p:spPr>
                      <a:xfrm>
                        <a:off x="1622" y="1623"/>
                        <a:ext cx="1619" cy="1619"/>
                      </a:xfrm>
                      <a:prstGeom prst="rect">
                        <a:avLst/>
                      </a:prstGeom>
                    </p:spPr>
                  </p:pic>
                </p:oleObj>
              </mc:Fallback>
            </mc:AlternateContent>
          </a:graphicData>
        </a:graphic>
      </p:graphicFrame>
      <p:sp>
        <p:nvSpPr>
          <p:cNvPr id="4" name="Rectangle 7" hidden="1">
            <a:extLst>
              <a:ext uri="{FF2B5EF4-FFF2-40B4-BE49-F238E27FC236}">
                <a16:creationId xmlns:a16="http://schemas.microsoft.com/office/drawing/2014/main" id="{C393A5F2-8637-4A82-8120-E9907FF92816}"/>
              </a:ext>
            </a:extLst>
          </p:cNvPr>
          <p:cNvSpPr/>
          <p:nvPr userDrawn="1">
            <p:custDataLst>
              <p:tags r:id="rId2"/>
            </p:custDataLst>
          </p:nvPr>
        </p:nvSpPr>
        <p:spPr>
          <a:xfrm>
            <a:off x="1"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2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en-US" dirty="0"/>
          </a:p>
        </p:txBody>
      </p:sp>
      <p:sp>
        <p:nvSpPr>
          <p:cNvPr id="5" name="doc id" hidden="1"/>
          <p:cNvSpPr>
            <a:spLocks noChangeArrowheads="1"/>
          </p:cNvSpPr>
          <p:nvPr userDrawn="1"/>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45"/>
            <a:endParaRPr lang="en-US" sz="612" baseline="0" dirty="0">
              <a:solidFill>
                <a:srgbClr val="808080"/>
              </a:solidFill>
              <a:latin typeface="+mn-lt"/>
              <a:ea typeface="+mn-ea"/>
            </a:endParaRPr>
          </a:p>
        </p:txBody>
      </p:sp>
      <p:sp>
        <p:nvSpPr>
          <p:cNvPr id="9" name="Slide Number">
            <a:extLst>
              <a:ext uri="{FF2B5EF4-FFF2-40B4-BE49-F238E27FC236}">
                <a16:creationId xmlns:a16="http://schemas.microsoft.com/office/drawing/2014/main" id="{4DA54418-B561-473B-B322-DBAE0888AC3E}"/>
              </a:ext>
            </a:extLst>
          </p:cNvPr>
          <p:cNvSpPr>
            <a:spLocks noChangeArrowheads="1"/>
          </p:cNvSpPr>
          <p:nvPr userDrawn="1">
            <p:custDataLst>
              <p:tags r:id="rId3"/>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138922973"/>
      </p:ext>
    </p:extLst>
  </p:cSld>
  <p:clrMapOvr>
    <a:masterClrMapping/>
  </p:clrMapOvr>
  <p:extLst>
    <p:ext uri="{DCECCB84-F9BA-43D5-87BE-67443E8EF086}">
      <p15:sldGuideLst xmlns:p15="http://schemas.microsoft.com/office/powerpoint/2012/main">
        <p15:guide id="1" pos="4129">
          <p15:clr>
            <a:srgbClr val="F26B43"/>
          </p15:clr>
        </p15:guide>
        <p15:guide id="2" pos="56">
          <p15:clr>
            <a:srgbClr val="F26B43"/>
          </p15:clr>
        </p15:guide>
        <p15:guide id="3" orient="horz" pos="571">
          <p15:clr>
            <a:srgbClr val="F26B43"/>
          </p15:clr>
        </p15:guide>
        <p15:guide id="4" orient="horz" pos="3911">
          <p15:clr>
            <a:srgbClr val="F26B43"/>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1"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900" b="1" dirty="0">
              <a:solidFill>
                <a:srgbClr val="FFFFFF"/>
              </a:solidFill>
              <a:latin typeface="Arial"/>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09600" y="1143002"/>
            <a:ext cx="7924800" cy="1200329"/>
          </a:xfrm>
        </p:spPr>
        <p:txBody>
          <a:bodyPr wrap="square"/>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5">
            <a:extLst>
              <a:ext uri="{FF2B5EF4-FFF2-40B4-BE49-F238E27FC236}">
                <a16:creationId xmlns:a16="http://schemas.microsoft.com/office/drawing/2014/main" id="{16A877DD-D20E-44D1-9DCC-7B13DFBEDBDD}"/>
              </a:ext>
            </a:extLst>
          </p:cNvPr>
          <p:cNvSpPr txBox="1"/>
          <p:nvPr userDrawn="1"/>
        </p:nvSpPr>
        <p:spPr>
          <a:xfrm>
            <a:off x="8545514" y="6445664"/>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17745946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9623D28-6A1E-4FD6-BF76-460C8E767576}" type="datetimeFigureOut">
              <a:rPr lang="en-US" smtClean="0"/>
              <a:t>9/28/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D564EF2-3EFA-4B06-B5BC-1855B6598F39}" type="slidenum">
              <a:rPr lang="en-US" smtClean="0"/>
              <a:t>‹#›</a:t>
            </a:fld>
            <a:endParaRPr lang="en-US" dirty="0"/>
          </a:p>
        </p:txBody>
      </p:sp>
      <p:sp>
        <p:nvSpPr>
          <p:cNvPr id="5" name="TextBox 4">
            <a:extLst>
              <a:ext uri="{FF2B5EF4-FFF2-40B4-BE49-F238E27FC236}">
                <a16:creationId xmlns:a16="http://schemas.microsoft.com/office/drawing/2014/main" id="{965D2465-7C12-4675-A7FA-38B1EC34C279}"/>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3330130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 Draft and Pre-Decisional</a:t>
            </a:r>
          </a:p>
        </p:txBody>
      </p:sp>
    </p:spTree>
    <p:extLst>
      <p:ext uri="{BB962C8B-B14F-4D97-AF65-F5344CB8AC3E}">
        <p14:creationId xmlns:p14="http://schemas.microsoft.com/office/powerpoint/2010/main" val="33651312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3"/>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4"/>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5"/>
            </p:custDataLst>
          </p:nvPr>
        </p:nvSpPr>
        <p:spPr bwMode="ltGray">
          <a:xfrm>
            <a:off x="8476488" y="666942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6"/>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7"/>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Documenttype">
            <a:extLst>
              <a:ext uri="{FF2B5EF4-FFF2-40B4-BE49-F238E27FC236}">
                <a16:creationId xmlns:a16="http://schemas.microsoft.com/office/drawing/2014/main" id="{335AEFB6-D0FB-42BD-A7D9-B038003F9038}"/>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899553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extLst>
              <p:ext uri="{D42A27DB-BD31-4B8C-83A1-F6EECF244321}">
                <p14:modId xmlns:p14="http://schemas.microsoft.com/office/powerpoint/2010/main" val="2100125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07970749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9F978F88-888E-4902-AE4E-763730DFD54F}"/>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6476263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D55D8EEB-2BE1-4282-98D8-53EF303E8282}"/>
              </a:ext>
            </a:extLst>
          </p:cNvPr>
          <p:cNvSpPr>
            <a:spLocks noChangeArrowheads="1"/>
          </p:cNvSpPr>
          <p:nvPr userDrawn="1">
            <p:custDataLst>
              <p:tags r:id="rId7"/>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3" name="Documenttype">
            <a:extLst>
              <a:ext uri="{FF2B5EF4-FFF2-40B4-BE49-F238E27FC236}">
                <a16:creationId xmlns:a16="http://schemas.microsoft.com/office/drawing/2014/main" id="{FF46468E-B5D9-4D46-B53F-92250D42CD9A}"/>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44205705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5"/>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
        <p:nvSpPr>
          <p:cNvPr id="15" name="Slide Number">
            <a:extLst>
              <a:ext uri="{FF2B5EF4-FFF2-40B4-BE49-F238E27FC236}">
                <a16:creationId xmlns:a16="http://schemas.microsoft.com/office/drawing/2014/main" id="{971BC29E-3439-42EF-857A-06339F96CBBC}"/>
              </a:ext>
            </a:extLst>
          </p:cNvPr>
          <p:cNvSpPr>
            <a:spLocks noChangeArrowheads="1"/>
          </p:cNvSpPr>
          <p:nvPr userDrawn="1">
            <p:custDataLst>
              <p:tags r:id="rId6"/>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2" name="Documenttype">
            <a:extLst>
              <a:ext uri="{FF2B5EF4-FFF2-40B4-BE49-F238E27FC236}">
                <a16:creationId xmlns:a16="http://schemas.microsoft.com/office/drawing/2014/main" id="{37CB39DD-EF4E-42C9-A79F-7772D544B1BC}"/>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58428904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5"/>
            </p:custDataLst>
          </p:nvPr>
        </p:nvSpPr>
        <p:spPr>
          <a:xfrm>
            <a:off x="1129284" y="3841050"/>
            <a:ext cx="6885432"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6"/>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6" name="Slide Number">
            <a:extLst>
              <a:ext uri="{FF2B5EF4-FFF2-40B4-BE49-F238E27FC236}">
                <a16:creationId xmlns:a16="http://schemas.microsoft.com/office/drawing/2014/main" id="{24794E3C-7711-4AF2-84E5-0B386A07C845}"/>
              </a:ext>
            </a:extLst>
          </p:cNvPr>
          <p:cNvSpPr>
            <a:spLocks noChangeArrowheads="1"/>
          </p:cNvSpPr>
          <p:nvPr userDrawn="1">
            <p:custDataLst>
              <p:tags r:id="rId7"/>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Documenttype">
            <a:extLst>
              <a:ext uri="{FF2B5EF4-FFF2-40B4-BE49-F238E27FC236}">
                <a16:creationId xmlns:a16="http://schemas.microsoft.com/office/drawing/2014/main" id="{FD552472-5C1D-460A-A4B4-6CF2E8B85AE3}"/>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1408956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2560320" y="0"/>
            <a:ext cx="658368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4"/>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5"/>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6"/>
            </p:custDataLst>
          </p:nvPr>
        </p:nvSpPr>
        <p:spPr>
          <a:xfrm>
            <a:off x="411163" y="3636552"/>
            <a:ext cx="189083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7"/>
            </p:custDataLst>
          </p:nvPr>
        </p:nvSpPr>
        <p:spPr>
          <a:xfrm>
            <a:off x="411163" y="2502261"/>
            <a:ext cx="189083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Slide Number">
            <a:extLst>
              <a:ext uri="{FF2B5EF4-FFF2-40B4-BE49-F238E27FC236}">
                <a16:creationId xmlns:a16="http://schemas.microsoft.com/office/drawing/2014/main" id="{F463310E-A1CE-491A-A58B-9DF9FAD834F7}"/>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2419FD05-7C22-4B7B-A703-31F91DCDD9EF}"/>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47400798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4"/>
            </p:custDataLst>
          </p:nvPr>
        </p:nvSpPr>
        <p:spPr>
          <a:xfrm>
            <a:off x="416052" y="6501669"/>
            <a:ext cx="260700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6"/>
            </p:custDataLst>
          </p:nvPr>
        </p:nvSpPr>
        <p:spPr>
          <a:xfrm>
            <a:off x="411163" y="2840816"/>
            <a:ext cx="2607005"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7"/>
            </p:custDataLst>
          </p:nvPr>
        </p:nvSpPr>
        <p:spPr>
          <a:xfrm>
            <a:off x="411163" y="3636552"/>
            <a:ext cx="2596896"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297D7C76-C65E-4CC9-A67E-4696F7C9613D}"/>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F3F73D64-B470-4557-8F79-8782F469C850}"/>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5544352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4"/>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6"/>
            </p:custDataLst>
          </p:nvPr>
        </p:nvSpPr>
        <p:spPr>
          <a:xfrm>
            <a:off x="416052" y="173736"/>
            <a:ext cx="3869385"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7"/>
            </p:custDataLst>
          </p:nvPr>
        </p:nvSpPr>
        <p:spPr>
          <a:xfrm>
            <a:off x="416052" y="525928"/>
            <a:ext cx="3869385"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D0AA6CB2-9326-44D6-9F1F-EBBC1FF32956}"/>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B76ACF59-02C1-479D-897F-32A99C4BF1B1}"/>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3105212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4"/>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6"/>
            </p:custDataLst>
          </p:nvPr>
        </p:nvSpPr>
        <p:spPr>
          <a:xfrm>
            <a:off x="416052" y="173736"/>
            <a:ext cx="5225477"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7"/>
            </p:custDataLst>
          </p:nvPr>
        </p:nvSpPr>
        <p:spPr>
          <a:xfrm>
            <a:off x="416052" y="525928"/>
            <a:ext cx="5225477"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DA176909-1827-47A3-9269-999921D650E9}"/>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E7EE37E3-110B-4CCF-BDA9-78DE4A64FA36}"/>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329205653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4"/>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6"/>
            </p:custDataLst>
          </p:nvPr>
        </p:nvSpPr>
        <p:spPr>
          <a:xfrm>
            <a:off x="416052" y="173736"/>
            <a:ext cx="59436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7"/>
            </p:custDataLst>
          </p:nvPr>
        </p:nvSpPr>
        <p:spPr>
          <a:xfrm>
            <a:off x="416052" y="525928"/>
            <a:ext cx="59436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Slide Number">
            <a:extLst>
              <a:ext uri="{FF2B5EF4-FFF2-40B4-BE49-F238E27FC236}">
                <a16:creationId xmlns:a16="http://schemas.microsoft.com/office/drawing/2014/main" id="{FC049C98-96F1-4F55-B79F-1572DAC8C7DA}"/>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61C2D8E6-F8F1-4FA3-994A-119390ACFF51}"/>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32419999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Slide Number">
            <a:extLst>
              <a:ext uri="{FF2B5EF4-FFF2-40B4-BE49-F238E27FC236}">
                <a16:creationId xmlns:a16="http://schemas.microsoft.com/office/drawing/2014/main" id="{BFF4B3B8-EB8B-4398-9258-E4FEB2757327}"/>
              </a:ext>
            </a:extLst>
          </p:cNvPr>
          <p:cNvSpPr>
            <a:spLocks noChangeArrowheads="1"/>
          </p:cNvSpPr>
          <p:nvPr userDrawn="1">
            <p:custDataLst>
              <p:tags r:id="rId6"/>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Documenttype">
            <a:extLst>
              <a:ext uri="{FF2B5EF4-FFF2-40B4-BE49-F238E27FC236}">
                <a16:creationId xmlns:a16="http://schemas.microsoft.com/office/drawing/2014/main" id="{1A6FC294-D020-45FF-B13F-B960E542BFDC}"/>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6209626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extLst>
              <p:ext uri="{D42A27DB-BD31-4B8C-83A1-F6EECF244321}">
                <p14:modId xmlns:p14="http://schemas.microsoft.com/office/powerpoint/2010/main" val="2302808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6"/>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49706314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047C437-9378-4088-A289-F201ABA447D1}"/>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3"/>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Slide Number">
            <a:extLst>
              <a:ext uri="{FF2B5EF4-FFF2-40B4-BE49-F238E27FC236}">
                <a16:creationId xmlns:a16="http://schemas.microsoft.com/office/drawing/2014/main" id="{E882B8BD-EE7D-4A81-AADC-1A688E7F0FDA}"/>
              </a:ext>
            </a:extLst>
          </p:cNvPr>
          <p:cNvSpPr>
            <a:spLocks noChangeArrowheads="1"/>
          </p:cNvSpPr>
          <p:nvPr userDrawn="1">
            <p:custDataLst>
              <p:tags r:id="rId4"/>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Documenttype">
            <a:extLst>
              <a:ext uri="{FF2B5EF4-FFF2-40B4-BE49-F238E27FC236}">
                <a16:creationId xmlns:a16="http://schemas.microsoft.com/office/drawing/2014/main" id="{253ABF71-6503-4C48-B2E1-8F33E6AC9ABD}"/>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5686545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7" name="Slide Number">
            <a:extLst>
              <a:ext uri="{FF2B5EF4-FFF2-40B4-BE49-F238E27FC236}">
                <a16:creationId xmlns:a16="http://schemas.microsoft.com/office/drawing/2014/main" id="{10773ED9-681A-4C23-9D46-B6F2680699C5}"/>
              </a:ext>
            </a:extLst>
          </p:cNvPr>
          <p:cNvSpPr>
            <a:spLocks noChangeArrowheads="1"/>
          </p:cNvSpPr>
          <p:nvPr userDrawn="1">
            <p:custDataLst>
              <p:tags r:id="rId3"/>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Documenttype">
            <a:extLst>
              <a:ext uri="{FF2B5EF4-FFF2-40B4-BE49-F238E27FC236}">
                <a16:creationId xmlns:a16="http://schemas.microsoft.com/office/drawing/2014/main" id="{B44DD919-5728-4942-B695-1A8A92813B5B}"/>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3533570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1554325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324738924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3604710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1223324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2"/>
            </p:custDataLst>
            <p:extLst>
              <p:ext uri="{D42A27DB-BD31-4B8C-83A1-F6EECF244321}">
                <p14:modId xmlns:p14="http://schemas.microsoft.com/office/powerpoint/2010/main" val="1944319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4"/>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5"/>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6"/>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7"/>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8"/>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197355435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extLst>
              <p:ext uri="{D42A27DB-BD31-4B8C-83A1-F6EECF244321}">
                <p14:modId xmlns:p14="http://schemas.microsoft.com/office/powerpoint/2010/main" val="2597795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15319671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extLst>
              <p:ext uri="{D42A27DB-BD31-4B8C-83A1-F6EECF244321}">
                <p14:modId xmlns:p14="http://schemas.microsoft.com/office/powerpoint/2010/main" val="705216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06864264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extLst>
              <p:ext uri="{D42A27DB-BD31-4B8C-83A1-F6EECF244321}">
                <p14:modId xmlns:p14="http://schemas.microsoft.com/office/powerpoint/2010/main" val="2114849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6"/>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9434852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extLst>
              <p:ext uri="{D42A27DB-BD31-4B8C-83A1-F6EECF244321}">
                <p14:modId xmlns:p14="http://schemas.microsoft.com/office/powerpoint/2010/main" val="4014462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6"/>
            </p:custDataLst>
          </p:nvPr>
        </p:nvSpPr>
        <p:spPr>
          <a:xfrm>
            <a:off x="1129284" y="3841050"/>
            <a:ext cx="6885432"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7"/>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8"/>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4391051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extLst>
              <p:ext uri="{D42A27DB-BD31-4B8C-83A1-F6EECF244321}">
                <p14:modId xmlns:p14="http://schemas.microsoft.com/office/powerpoint/2010/main" val="2038128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2560320" y="0"/>
            <a:ext cx="658368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5"/>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6"/>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7"/>
            </p:custDataLst>
          </p:nvPr>
        </p:nvSpPr>
        <p:spPr>
          <a:xfrm>
            <a:off x="411163" y="3636552"/>
            <a:ext cx="189083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8"/>
            </p:custDataLst>
          </p:nvPr>
        </p:nvSpPr>
        <p:spPr>
          <a:xfrm>
            <a:off x="411163" y="2502261"/>
            <a:ext cx="189083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504698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extLst>
              <p:ext uri="{D42A27DB-BD31-4B8C-83A1-F6EECF244321}">
                <p14:modId xmlns:p14="http://schemas.microsoft.com/office/powerpoint/2010/main" val="2252235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6"/>
            </p:custDataLst>
          </p:nvPr>
        </p:nvSpPr>
        <p:spPr>
          <a:xfrm>
            <a:off x="1129284" y="3841050"/>
            <a:ext cx="6885432"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7"/>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8"/>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4116976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extLst>
              <p:ext uri="{D42A27DB-BD31-4B8C-83A1-F6EECF244321}">
                <p14:modId xmlns:p14="http://schemas.microsoft.com/office/powerpoint/2010/main" val="386501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5"/>
            </p:custDataLst>
          </p:nvPr>
        </p:nvSpPr>
        <p:spPr>
          <a:xfrm>
            <a:off x="416052" y="6501669"/>
            <a:ext cx="260700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7"/>
            </p:custDataLst>
          </p:nvPr>
        </p:nvSpPr>
        <p:spPr>
          <a:xfrm>
            <a:off x="411163" y="2840816"/>
            <a:ext cx="2607005"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8"/>
            </p:custDataLst>
          </p:nvPr>
        </p:nvSpPr>
        <p:spPr>
          <a:xfrm>
            <a:off x="411163" y="3636552"/>
            <a:ext cx="2596896"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7244696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extLst>
              <p:ext uri="{D42A27DB-BD31-4B8C-83A1-F6EECF244321}">
                <p14:modId xmlns:p14="http://schemas.microsoft.com/office/powerpoint/2010/main" val="807725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5"/>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7"/>
            </p:custDataLst>
          </p:nvPr>
        </p:nvSpPr>
        <p:spPr>
          <a:xfrm>
            <a:off x="416052" y="173736"/>
            <a:ext cx="3869385"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8"/>
            </p:custDataLst>
          </p:nvPr>
        </p:nvSpPr>
        <p:spPr>
          <a:xfrm>
            <a:off x="416052" y="525928"/>
            <a:ext cx="3869385"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72277369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extLst>
              <p:ext uri="{D42A27DB-BD31-4B8C-83A1-F6EECF244321}">
                <p14:modId xmlns:p14="http://schemas.microsoft.com/office/powerpoint/2010/main" val="2151103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5"/>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7"/>
            </p:custDataLst>
          </p:nvPr>
        </p:nvSpPr>
        <p:spPr>
          <a:xfrm>
            <a:off x="416052" y="173736"/>
            <a:ext cx="5225477"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8"/>
            </p:custDataLst>
          </p:nvPr>
        </p:nvSpPr>
        <p:spPr>
          <a:xfrm>
            <a:off x="416052" y="525928"/>
            <a:ext cx="5225477"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77064013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63041193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5"/>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7"/>
            </p:custDataLst>
          </p:nvPr>
        </p:nvSpPr>
        <p:spPr>
          <a:xfrm>
            <a:off x="416052" y="173736"/>
            <a:ext cx="59436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8"/>
            </p:custDataLst>
          </p:nvPr>
        </p:nvSpPr>
        <p:spPr>
          <a:xfrm>
            <a:off x="416052" y="525928"/>
            <a:ext cx="59436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52917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extLst>
              <p:ext uri="{D42A27DB-BD31-4B8C-83A1-F6EECF244321}">
                <p14:modId xmlns:p14="http://schemas.microsoft.com/office/powerpoint/2010/main" val="2962296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4"/>
            </p:custDataLst>
          </p:nvPr>
        </p:nvSpPr>
        <p:spPr bwMode="black">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5"/>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0990178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extLst>
              <p:ext uri="{D42A27DB-BD31-4B8C-83A1-F6EECF244321}">
                <p14:modId xmlns:p14="http://schemas.microsoft.com/office/powerpoint/2010/main" val="3196152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2"/>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5"/>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52000216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extLst>
              <p:ext uri="{D42A27DB-BD31-4B8C-83A1-F6EECF244321}">
                <p14:modId xmlns:p14="http://schemas.microsoft.com/office/powerpoint/2010/main" val="3856168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3"/>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7060775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1A6E6-075E-4828-AF88-09BD0A74259E}"/>
              </a:ext>
            </a:extLst>
          </p:cNvPr>
          <p:cNvSpPr>
            <a:spLocks noGrp="1"/>
          </p:cNvSpPr>
          <p:nvPr>
            <p:ph type="ctrTitle"/>
          </p:nvPr>
        </p:nvSpPr>
        <p:spPr>
          <a:xfrm>
            <a:off x="1143000" y="2124968"/>
            <a:ext cx="6858000" cy="1384995"/>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5F3800DB-487B-4E23-AC0B-90C9ED4E1076}"/>
              </a:ext>
            </a:extLst>
          </p:cNvPr>
          <p:cNvSpPr>
            <a:spLocks noGrp="1"/>
          </p:cNvSpPr>
          <p:nvPr>
            <p:ph type="subTitle" idx="1"/>
          </p:nvPr>
        </p:nvSpPr>
        <p:spPr>
          <a:xfrm>
            <a:off x="1143000" y="3602038"/>
            <a:ext cx="6858000" cy="276999"/>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664DF5B1-3694-42A9-866E-9F1FF6CF0C01}"/>
              </a:ext>
            </a:extLst>
          </p:cNvPr>
          <p:cNvSpPr>
            <a:spLocks noGrp="1"/>
          </p:cNvSpPr>
          <p:nvPr>
            <p:ph type="dt" sz="half" idx="10"/>
          </p:nvPr>
        </p:nvSpPr>
        <p:spPr/>
        <p:txBody>
          <a:bodyPr/>
          <a:lstStyle/>
          <a:p>
            <a:fld id="{EED1C14C-A143-42F5-B247-D0E800131009}" type="datetimeFigureOut">
              <a:rPr lang="en-US" smtClean="0"/>
              <a:t>9/28/2022</a:t>
            </a:fld>
            <a:endParaRPr lang="en-US" dirty="0"/>
          </a:p>
        </p:txBody>
      </p:sp>
      <p:sp>
        <p:nvSpPr>
          <p:cNvPr id="5" name="Footer Placeholder 4">
            <a:extLst>
              <a:ext uri="{FF2B5EF4-FFF2-40B4-BE49-F238E27FC236}">
                <a16:creationId xmlns:a16="http://schemas.microsoft.com/office/drawing/2014/main" id="{54718E67-8162-4BE0-9B01-22B89A120AD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1568B9D-A8C9-40C5-85B0-14F435F39C81}"/>
              </a:ext>
            </a:extLst>
          </p:cNvPr>
          <p:cNvSpPr>
            <a:spLocks noGrp="1"/>
          </p:cNvSpPr>
          <p:nvPr>
            <p:ph type="sldNum" sz="quarter" idx="12"/>
          </p:nvPr>
        </p:nvSpPr>
        <p:spPr/>
        <p:txBody>
          <a:bodyPr/>
          <a:lstStyle/>
          <a:p>
            <a:fld id="{5B03D32D-F1BC-4E9C-97E1-36CFF5B22341}" type="slidenum">
              <a:rPr lang="en-US" smtClean="0"/>
              <a:t>‹#›</a:t>
            </a:fld>
            <a:endParaRPr lang="en-US" dirty="0"/>
          </a:p>
        </p:txBody>
      </p:sp>
    </p:spTree>
    <p:extLst>
      <p:ext uri="{BB962C8B-B14F-4D97-AF65-F5344CB8AC3E}">
        <p14:creationId xmlns:p14="http://schemas.microsoft.com/office/powerpoint/2010/main" val="42382250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9623D28-6A1E-4FD6-BF76-460C8E767576}" type="datetimeFigureOut">
              <a:rPr lang="en-US" smtClean="0"/>
              <a:t>9/28/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D564EF2-3EFA-4B06-B5BC-1855B6598F39}" type="slidenum">
              <a:rPr lang="en-US" smtClean="0"/>
              <a:t>‹#›</a:t>
            </a:fld>
            <a:endParaRPr lang="en-US" dirty="0"/>
          </a:p>
        </p:txBody>
      </p:sp>
    </p:spTree>
    <p:extLst>
      <p:ext uri="{BB962C8B-B14F-4D97-AF65-F5344CB8AC3E}">
        <p14:creationId xmlns:p14="http://schemas.microsoft.com/office/powerpoint/2010/main" val="119740179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1473235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 Draft and Pre-Decisional</a:t>
            </a:r>
          </a:p>
        </p:txBody>
      </p:sp>
    </p:spTree>
    <p:extLst>
      <p:ext uri="{BB962C8B-B14F-4D97-AF65-F5344CB8AC3E}">
        <p14:creationId xmlns:p14="http://schemas.microsoft.com/office/powerpoint/2010/main" val="37078269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extLst>
              <p:ext uri="{D42A27DB-BD31-4B8C-83A1-F6EECF244321}">
                <p14:modId xmlns:p14="http://schemas.microsoft.com/office/powerpoint/2010/main" val="2423571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2560320" y="0"/>
            <a:ext cx="658368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5"/>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6"/>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7"/>
            </p:custDataLst>
          </p:nvPr>
        </p:nvSpPr>
        <p:spPr>
          <a:xfrm>
            <a:off x="411163" y="3636552"/>
            <a:ext cx="189083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8"/>
            </p:custDataLst>
          </p:nvPr>
        </p:nvSpPr>
        <p:spPr>
          <a:xfrm>
            <a:off x="411163" y="2502261"/>
            <a:ext cx="189083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47036955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1"/>
            </p:custDataLst>
            <p:extLst>
              <p:ext uri="{D42A27DB-BD31-4B8C-83A1-F6EECF244321}">
                <p14:modId xmlns:p14="http://schemas.microsoft.com/office/powerpoint/2010/main" val="2378282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72" imgH="588" progId="TCLayout.ActiveDocument.1">
                  <p:embed/>
                </p:oleObj>
              </mc:Choice>
              <mc:Fallback>
                <p:oleObj name="think-cell Slide" r:id="rId9"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3"/>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4"/>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5"/>
            </p:custDataLst>
          </p:nvPr>
        </p:nvSpPr>
        <p:spPr bwMode="ltGray">
          <a:xfrm>
            <a:off x="8476488" y="666942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6"/>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7"/>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Documenttype">
            <a:extLst>
              <a:ext uri="{FF2B5EF4-FFF2-40B4-BE49-F238E27FC236}">
                <a16:creationId xmlns:a16="http://schemas.microsoft.com/office/drawing/2014/main" id="{335AEFB6-D0FB-42BD-A7D9-B038003F9038}"/>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19127505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extLst>
              <p:ext uri="{D42A27DB-BD31-4B8C-83A1-F6EECF244321}">
                <p14:modId xmlns:p14="http://schemas.microsoft.com/office/powerpoint/2010/main" val="2985941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9F978F88-888E-4902-AE4E-763730DFD54F}"/>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6995620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extLst>
              <p:ext uri="{D42A27DB-BD31-4B8C-83A1-F6EECF244321}">
                <p14:modId xmlns:p14="http://schemas.microsoft.com/office/powerpoint/2010/main" val="1291554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D55D8EEB-2BE1-4282-98D8-53EF303E8282}"/>
              </a:ext>
            </a:extLst>
          </p:cNvPr>
          <p:cNvSpPr>
            <a:spLocks noChangeArrowheads="1"/>
          </p:cNvSpPr>
          <p:nvPr userDrawn="1">
            <p:custDataLst>
              <p:tags r:id="rId7"/>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3" name="Documenttype">
            <a:extLst>
              <a:ext uri="{FF2B5EF4-FFF2-40B4-BE49-F238E27FC236}">
                <a16:creationId xmlns:a16="http://schemas.microsoft.com/office/drawing/2014/main" id="{FF46468E-B5D9-4D46-B53F-92250D42CD9A}"/>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39293471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extLst>
              <p:ext uri="{D42A27DB-BD31-4B8C-83A1-F6EECF244321}">
                <p14:modId xmlns:p14="http://schemas.microsoft.com/office/powerpoint/2010/main" val="1699492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5"/>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
        <p:nvSpPr>
          <p:cNvPr id="15" name="Slide Number">
            <a:extLst>
              <a:ext uri="{FF2B5EF4-FFF2-40B4-BE49-F238E27FC236}">
                <a16:creationId xmlns:a16="http://schemas.microsoft.com/office/drawing/2014/main" id="{971BC29E-3439-42EF-857A-06339F96CBBC}"/>
              </a:ext>
            </a:extLst>
          </p:cNvPr>
          <p:cNvSpPr>
            <a:spLocks noChangeArrowheads="1"/>
          </p:cNvSpPr>
          <p:nvPr userDrawn="1">
            <p:custDataLst>
              <p:tags r:id="rId6"/>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2" name="Documenttype">
            <a:extLst>
              <a:ext uri="{FF2B5EF4-FFF2-40B4-BE49-F238E27FC236}">
                <a16:creationId xmlns:a16="http://schemas.microsoft.com/office/drawing/2014/main" id="{37CB39DD-EF4E-42C9-A79F-7772D544B1BC}"/>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404707270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extLst>
              <p:ext uri="{D42A27DB-BD31-4B8C-83A1-F6EECF244321}">
                <p14:modId xmlns:p14="http://schemas.microsoft.com/office/powerpoint/2010/main" val="2158082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3"/>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4"/>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5"/>
            </p:custDataLst>
          </p:nvPr>
        </p:nvSpPr>
        <p:spPr>
          <a:xfrm>
            <a:off x="1129284" y="3841050"/>
            <a:ext cx="6885432"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6"/>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16" name="Slide Number">
            <a:extLst>
              <a:ext uri="{FF2B5EF4-FFF2-40B4-BE49-F238E27FC236}">
                <a16:creationId xmlns:a16="http://schemas.microsoft.com/office/drawing/2014/main" id="{24794E3C-7711-4AF2-84E5-0B386A07C845}"/>
              </a:ext>
            </a:extLst>
          </p:cNvPr>
          <p:cNvSpPr>
            <a:spLocks noChangeArrowheads="1"/>
          </p:cNvSpPr>
          <p:nvPr userDrawn="1">
            <p:custDataLst>
              <p:tags r:id="rId7"/>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Documenttype">
            <a:extLst>
              <a:ext uri="{FF2B5EF4-FFF2-40B4-BE49-F238E27FC236}">
                <a16:creationId xmlns:a16="http://schemas.microsoft.com/office/drawing/2014/main" id="{FD552472-5C1D-460A-A4B4-6CF2E8B85AE3}"/>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30300416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1"/>
            </p:custDataLst>
            <p:extLst>
              <p:ext uri="{D42A27DB-BD31-4B8C-83A1-F6EECF244321}">
                <p14:modId xmlns:p14="http://schemas.microsoft.com/office/powerpoint/2010/main" val="197505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5" name="Object 2" hidden="1">
                        <a:extLst>
                          <a:ext uri="{FF2B5EF4-FFF2-40B4-BE49-F238E27FC236}">
                            <a16:creationId xmlns:a16="http://schemas.microsoft.com/office/drawing/2014/main" id="{F17934EB-F2F5-451C-8BFA-F1B57B7FE8F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2560320" y="0"/>
            <a:ext cx="658368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4"/>
            </p:custDataLst>
          </p:nvPr>
        </p:nvSpPr>
        <p:spPr>
          <a:xfrm>
            <a:off x="416052" y="6501669"/>
            <a:ext cx="189083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5"/>
            </p:custDataLst>
          </p:nvPr>
        </p:nvSpPr>
        <p:spPr>
          <a:xfrm>
            <a:off x="416053" y="41597"/>
            <a:ext cx="189083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6"/>
            </p:custDataLst>
          </p:nvPr>
        </p:nvSpPr>
        <p:spPr>
          <a:xfrm>
            <a:off x="411163" y="3636552"/>
            <a:ext cx="189083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7"/>
            </p:custDataLst>
          </p:nvPr>
        </p:nvSpPr>
        <p:spPr>
          <a:xfrm>
            <a:off x="411163" y="2502261"/>
            <a:ext cx="189083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Slide Number">
            <a:extLst>
              <a:ext uri="{FF2B5EF4-FFF2-40B4-BE49-F238E27FC236}">
                <a16:creationId xmlns:a16="http://schemas.microsoft.com/office/drawing/2014/main" id="{F463310E-A1CE-491A-A58B-9DF9FAD834F7}"/>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2419FD05-7C22-4B7B-A703-31F91DCDD9EF}"/>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108203462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extLst>
              <p:ext uri="{D42A27DB-BD31-4B8C-83A1-F6EECF244321}">
                <p14:modId xmlns:p14="http://schemas.microsoft.com/office/powerpoint/2010/main" val="1899738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4"/>
            </p:custDataLst>
          </p:nvPr>
        </p:nvSpPr>
        <p:spPr>
          <a:xfrm>
            <a:off x="416052" y="6501669"/>
            <a:ext cx="260700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6"/>
            </p:custDataLst>
          </p:nvPr>
        </p:nvSpPr>
        <p:spPr>
          <a:xfrm>
            <a:off x="411163" y="2840816"/>
            <a:ext cx="2607005"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7"/>
            </p:custDataLst>
          </p:nvPr>
        </p:nvSpPr>
        <p:spPr>
          <a:xfrm>
            <a:off x="411163" y="3636552"/>
            <a:ext cx="2596896"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297D7C76-C65E-4CC9-A67E-4696F7C9613D}"/>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F3F73D64-B470-4557-8F79-8782F469C850}"/>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66321131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1"/>
            </p:custDataLst>
            <p:extLst>
              <p:ext uri="{D42A27DB-BD31-4B8C-83A1-F6EECF244321}">
                <p14:modId xmlns:p14="http://schemas.microsoft.com/office/powerpoint/2010/main" val="473827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AE8063F9-BD79-4AC7-AE37-FA41373B03AA}"/>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4"/>
            </p:custDataLst>
          </p:nvPr>
        </p:nvSpPr>
        <p:spPr>
          <a:xfrm>
            <a:off x="416052" y="6501669"/>
            <a:ext cx="386938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6"/>
            </p:custDataLst>
          </p:nvPr>
        </p:nvSpPr>
        <p:spPr>
          <a:xfrm>
            <a:off x="416052" y="173736"/>
            <a:ext cx="3869385"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7"/>
            </p:custDataLst>
          </p:nvPr>
        </p:nvSpPr>
        <p:spPr>
          <a:xfrm>
            <a:off x="416052" y="525928"/>
            <a:ext cx="3869385"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D0AA6CB2-9326-44D6-9F1F-EBBC1FF32956}"/>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B76ACF59-02C1-479D-897F-32A99C4BF1B1}"/>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57154848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1"/>
            </p:custDataLst>
            <p:extLst>
              <p:ext uri="{D42A27DB-BD31-4B8C-83A1-F6EECF244321}">
                <p14:modId xmlns:p14="http://schemas.microsoft.com/office/powerpoint/2010/main" val="30772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3C874AD5-EF74-4210-B94F-F40285F6D1E0}"/>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5872734" y="0"/>
            <a:ext cx="3271266"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4"/>
            </p:custDataLst>
          </p:nvPr>
        </p:nvSpPr>
        <p:spPr>
          <a:xfrm>
            <a:off x="416052" y="6501669"/>
            <a:ext cx="522547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6"/>
            </p:custDataLst>
          </p:nvPr>
        </p:nvSpPr>
        <p:spPr>
          <a:xfrm>
            <a:off x="416052" y="173736"/>
            <a:ext cx="5225477"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7"/>
            </p:custDataLst>
          </p:nvPr>
        </p:nvSpPr>
        <p:spPr>
          <a:xfrm>
            <a:off x="416052" y="525928"/>
            <a:ext cx="5225477"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Slide Number">
            <a:extLst>
              <a:ext uri="{FF2B5EF4-FFF2-40B4-BE49-F238E27FC236}">
                <a16:creationId xmlns:a16="http://schemas.microsoft.com/office/drawing/2014/main" id="{DA176909-1827-47A3-9269-999921D650E9}"/>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E7EE37E3-110B-4CCF-BDA9-78DE4A64FA36}"/>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56409770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83037533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4"/>
            </p:custDataLst>
          </p:nvPr>
        </p:nvSpPr>
        <p:spPr>
          <a:xfrm>
            <a:off x="416051" y="6501669"/>
            <a:ext cx="59436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6"/>
            </p:custDataLst>
          </p:nvPr>
        </p:nvSpPr>
        <p:spPr>
          <a:xfrm>
            <a:off x="416052" y="173736"/>
            <a:ext cx="59436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7"/>
            </p:custDataLst>
          </p:nvPr>
        </p:nvSpPr>
        <p:spPr>
          <a:xfrm>
            <a:off x="416052" y="525928"/>
            <a:ext cx="59436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Slide Number">
            <a:extLst>
              <a:ext uri="{FF2B5EF4-FFF2-40B4-BE49-F238E27FC236}">
                <a16:creationId xmlns:a16="http://schemas.microsoft.com/office/drawing/2014/main" id="{FC049C98-96F1-4F55-B79F-1572DAC8C7DA}"/>
              </a:ext>
            </a:extLst>
          </p:cNvPr>
          <p:cNvSpPr>
            <a:spLocks noChangeArrowheads="1"/>
          </p:cNvSpPr>
          <p:nvPr userDrawn="1">
            <p:custDataLst>
              <p:tags r:id="rId8"/>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5" name="Documenttype">
            <a:extLst>
              <a:ext uri="{FF2B5EF4-FFF2-40B4-BE49-F238E27FC236}">
                <a16:creationId xmlns:a16="http://schemas.microsoft.com/office/drawing/2014/main" id="{61C2D8E6-F8F1-4FA3-994A-119390ACFF51}"/>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40611223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1"/>
            </p:custDataLst>
            <p:extLst>
              <p:ext uri="{D42A27DB-BD31-4B8C-83A1-F6EECF244321}">
                <p14:modId xmlns:p14="http://schemas.microsoft.com/office/powerpoint/2010/main" val="1532419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4" name="Object 2" hidden="1">
                        <a:extLst>
                          <a:ext uri="{FF2B5EF4-FFF2-40B4-BE49-F238E27FC236}">
                            <a16:creationId xmlns:a16="http://schemas.microsoft.com/office/drawing/2014/main" id="{E317DDE9-4510-4ADA-BC78-E96D2459782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blackGray">
          <a:xfrm>
            <a:off x="3273552" y="0"/>
            <a:ext cx="58704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4"/>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5"/>
            </p:custDataLst>
          </p:nvPr>
        </p:nvSpPr>
        <p:spPr>
          <a:xfrm>
            <a:off x="416052" y="6501669"/>
            <a:ext cx="2607005"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6"/>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7"/>
            </p:custDataLst>
          </p:nvPr>
        </p:nvSpPr>
        <p:spPr>
          <a:xfrm>
            <a:off x="411163" y="2840816"/>
            <a:ext cx="2607005"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8"/>
            </p:custDataLst>
          </p:nvPr>
        </p:nvSpPr>
        <p:spPr>
          <a:xfrm>
            <a:off x="411163" y="3636552"/>
            <a:ext cx="2596896"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9"/>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69291005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1"/>
            </p:custDataLst>
            <p:extLst>
              <p:ext uri="{D42A27DB-BD31-4B8C-83A1-F6EECF244321}">
                <p14:modId xmlns:p14="http://schemas.microsoft.com/office/powerpoint/2010/main" val="857781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72" imgH="588" progId="TCLayout.ActiveDocument.1">
                  <p:embed/>
                </p:oleObj>
              </mc:Choice>
              <mc:Fallback>
                <p:oleObj name="think-cell Slide" r:id="rId8" imgW="572" imgH="588" progId="TCLayout.ActiveDocument.1">
                  <p:embed/>
                  <p:pic>
                    <p:nvPicPr>
                      <p:cNvPr id="3" name="Object 2" hidden="1">
                        <a:extLst>
                          <a:ext uri="{FF2B5EF4-FFF2-40B4-BE49-F238E27FC236}">
                            <a16:creationId xmlns:a16="http://schemas.microsoft.com/office/drawing/2014/main" id="{3AB36C25-3154-4643-A5D1-40C663C7617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Slide Number">
            <a:extLst>
              <a:ext uri="{FF2B5EF4-FFF2-40B4-BE49-F238E27FC236}">
                <a16:creationId xmlns:a16="http://schemas.microsoft.com/office/drawing/2014/main" id="{BFF4B3B8-EB8B-4398-9258-E4FEB2757327}"/>
              </a:ext>
            </a:extLst>
          </p:cNvPr>
          <p:cNvSpPr>
            <a:spLocks noChangeArrowheads="1"/>
          </p:cNvSpPr>
          <p:nvPr userDrawn="1">
            <p:custDataLst>
              <p:tags r:id="rId6"/>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Documenttype">
            <a:extLst>
              <a:ext uri="{FF2B5EF4-FFF2-40B4-BE49-F238E27FC236}">
                <a16:creationId xmlns:a16="http://schemas.microsoft.com/office/drawing/2014/main" id="{1A6FC294-D020-45FF-B13F-B960E542BFDC}"/>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387579458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1"/>
            </p:custDataLst>
            <p:extLst>
              <p:ext uri="{D42A27DB-BD31-4B8C-83A1-F6EECF244321}">
                <p14:modId xmlns:p14="http://schemas.microsoft.com/office/powerpoint/2010/main" val="2345164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B45F7C92-D5CD-4EDC-B5FB-B32BFADF4AE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047C437-9378-4088-A289-F201ABA447D1}"/>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3"/>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Slide Number">
            <a:extLst>
              <a:ext uri="{FF2B5EF4-FFF2-40B4-BE49-F238E27FC236}">
                <a16:creationId xmlns:a16="http://schemas.microsoft.com/office/drawing/2014/main" id="{E882B8BD-EE7D-4A81-AADC-1A688E7F0FDA}"/>
              </a:ext>
            </a:extLst>
          </p:cNvPr>
          <p:cNvSpPr>
            <a:spLocks noChangeArrowheads="1"/>
          </p:cNvSpPr>
          <p:nvPr userDrawn="1">
            <p:custDataLst>
              <p:tags r:id="rId4"/>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Documenttype">
            <a:extLst>
              <a:ext uri="{FF2B5EF4-FFF2-40B4-BE49-F238E27FC236}">
                <a16:creationId xmlns:a16="http://schemas.microsoft.com/office/drawing/2014/main" id="{253ABF71-6503-4C48-B2E1-8F33E6AC9ABD}"/>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351936918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1"/>
            </p:custDataLst>
            <p:extLst>
              <p:ext uri="{D42A27DB-BD31-4B8C-83A1-F6EECF244321}">
                <p14:modId xmlns:p14="http://schemas.microsoft.com/office/powerpoint/2010/main" val="907764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2" hidden="1">
                        <a:extLst>
                          <a:ext uri="{FF2B5EF4-FFF2-40B4-BE49-F238E27FC236}">
                            <a16:creationId xmlns:a16="http://schemas.microsoft.com/office/drawing/2014/main" id="{1C6EC4AA-6C84-4EF6-AF4D-BE24FEED67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2"/>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7" name="Slide Number">
            <a:extLst>
              <a:ext uri="{FF2B5EF4-FFF2-40B4-BE49-F238E27FC236}">
                <a16:creationId xmlns:a16="http://schemas.microsoft.com/office/drawing/2014/main" id="{10773ED9-681A-4C23-9D46-B6F2680699C5}"/>
              </a:ext>
            </a:extLst>
          </p:cNvPr>
          <p:cNvSpPr>
            <a:spLocks noChangeArrowheads="1"/>
          </p:cNvSpPr>
          <p:nvPr userDrawn="1">
            <p:custDataLst>
              <p:tags r:id="rId3"/>
            </p:custDataLst>
          </p:nvPr>
        </p:nvSpPr>
        <p:spPr bwMode="ltGray">
          <a:xfrm>
            <a:off x="8476488" y="6637674"/>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Documenttype">
            <a:extLst>
              <a:ext uri="{FF2B5EF4-FFF2-40B4-BE49-F238E27FC236}">
                <a16:creationId xmlns:a16="http://schemas.microsoft.com/office/drawing/2014/main" id="{B44DD919-5728-4942-B695-1A8A92813B5B}"/>
              </a:ext>
            </a:extLst>
          </p:cNvPr>
          <p:cNvSpPr txBox="1">
            <a:spLocks/>
          </p:cNvSpPr>
          <p:nvPr userDrawn="1"/>
        </p:nvSpPr>
        <p:spPr>
          <a:xfrm>
            <a:off x="309729" y="6427334"/>
            <a:ext cx="2871621" cy="365213"/>
          </a:xfrm>
          <a:prstGeom prst="rect">
            <a:avLst/>
          </a:prstGeom>
        </p:spPr>
        <p:txBody>
          <a:bodyPr vert="horz" wrap="square" lIns="0" tIns="0" rIns="0" bIns="0" rtlCol="0" anchor="b">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i="1" dirty="0">
                <a:solidFill>
                  <a:schemeClr val="tx1">
                    <a:lumMod val="65000"/>
                    <a:lumOff val="35000"/>
                  </a:schemeClr>
                </a:solidFill>
              </a:rPr>
              <a:t>Confidential, Draft and Pre-Decisional</a:t>
            </a:r>
          </a:p>
        </p:txBody>
      </p:sp>
    </p:spTree>
    <p:extLst>
      <p:ext uri="{BB962C8B-B14F-4D97-AF65-F5344CB8AC3E}">
        <p14:creationId xmlns:p14="http://schemas.microsoft.com/office/powerpoint/2010/main" val="270849113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1593482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4603552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1"/>
            </p:custDataLst>
            <p:extLst>
              <p:ext uri="{D42A27DB-BD31-4B8C-83A1-F6EECF244321}">
                <p14:modId xmlns:p14="http://schemas.microsoft.com/office/powerpoint/2010/main" val="48693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1F9F2487-C04B-4E89-A85F-F145412FF7C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3"/>
            </p:custDataLst>
          </p:nvPr>
        </p:nvSpPr>
        <p:spPr>
          <a:xfrm>
            <a:off x="412114" y="2406303"/>
            <a:ext cx="7487877"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4"/>
            </p:custDataLst>
          </p:nvPr>
        </p:nvSpPr>
        <p:spPr>
          <a:xfrm>
            <a:off x="412114" y="4539678"/>
            <a:ext cx="7486100"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5"/>
            </p:custDataLst>
          </p:nvPr>
        </p:nvSpPr>
        <p:spPr>
          <a:xfrm>
            <a:off x="412114" y="3611490"/>
            <a:ext cx="7486100"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6"/>
            </p:custDataLst>
          </p:nvPr>
        </p:nvSpPr>
        <p:spPr>
          <a:xfrm>
            <a:off x="5943600" y="5791112"/>
            <a:ext cx="2871621"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7"/>
            </p:custDataLst>
          </p:nvPr>
        </p:nvSpPr>
        <p:spPr>
          <a:xfrm>
            <a:off x="412114" y="579111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8545514" y="6435725"/>
            <a:ext cx="208756"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261409991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1"/>
            </p:custDataLst>
          </p:nvPr>
        </p:nvSpPr>
        <p:spPr>
          <a:xfrm>
            <a:off x="0" y="0"/>
            <a:ext cx="12700"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2"/>
            </p:custDataLst>
            <p:extLst>
              <p:ext uri="{D42A27DB-BD31-4B8C-83A1-F6EECF244321}">
                <p14:modId xmlns:p14="http://schemas.microsoft.com/office/powerpoint/2010/main" val="1743836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5306E269-83F5-4510-A180-109E926BB41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4"/>
            </p:custDataLst>
          </p:nvPr>
        </p:nvSpPr>
        <p:spPr>
          <a:xfrm>
            <a:off x="416052" y="525928"/>
            <a:ext cx="8311896"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5"/>
            </p:custDataLst>
          </p:nvPr>
        </p:nvSpPr>
        <p:spPr>
          <a:xfrm>
            <a:off x="416052" y="173736"/>
            <a:ext cx="8311896"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6"/>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7"/>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8"/>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Tree>
    <p:extLst>
      <p:ext uri="{BB962C8B-B14F-4D97-AF65-F5344CB8AC3E}">
        <p14:creationId xmlns:p14="http://schemas.microsoft.com/office/powerpoint/2010/main" val="209079445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1"/>
            </p:custDataLst>
            <p:extLst>
              <p:ext uri="{D42A27DB-BD31-4B8C-83A1-F6EECF244321}">
                <p14:modId xmlns:p14="http://schemas.microsoft.com/office/powerpoint/2010/main" val="3757717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5" name="Object 2" hidden="1">
                        <a:extLst>
                          <a:ext uri="{FF2B5EF4-FFF2-40B4-BE49-F238E27FC236}">
                            <a16:creationId xmlns:a16="http://schemas.microsoft.com/office/drawing/2014/main" id="{B2D7514F-25FA-4E78-87EA-9310B631553C}"/>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6"/>
            </p:custDataLst>
          </p:nvPr>
        </p:nvSpPr>
        <p:spPr>
          <a:xfrm>
            <a:off x="416052" y="1706565"/>
            <a:ext cx="2859786"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67274356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1"/>
            </p:custDataLst>
            <p:extLst>
              <p:ext uri="{D42A27DB-BD31-4B8C-83A1-F6EECF244321}">
                <p14:modId xmlns:p14="http://schemas.microsoft.com/office/powerpoint/2010/main" val="193506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4" name="Object 2" hidden="1">
                        <a:extLst>
                          <a:ext uri="{FF2B5EF4-FFF2-40B4-BE49-F238E27FC236}">
                            <a16:creationId xmlns:a16="http://schemas.microsoft.com/office/drawing/2014/main" id="{F2127110-9E20-4E63-ACC1-B73E30E4EFC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6"/>
            </p:custDataLst>
          </p:nvPr>
        </p:nvSpPr>
        <p:spPr>
          <a:xfrm>
            <a:off x="416052" y="3090450"/>
            <a:ext cx="3799332"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50987917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1"/>
            </p:custDataLst>
            <p:extLst>
              <p:ext uri="{D42A27DB-BD31-4B8C-83A1-F6EECF244321}">
                <p14:modId xmlns:p14="http://schemas.microsoft.com/office/powerpoint/2010/main" val="4028749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6E78EB6-BD2E-4D6E-862A-ED6E403B39A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6"/>
            </p:custDataLst>
          </p:nvPr>
        </p:nvSpPr>
        <p:spPr>
          <a:xfrm>
            <a:off x="416052" y="4919246"/>
            <a:ext cx="8311896"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7"/>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88678693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1"/>
            </p:custDataLst>
            <p:extLst>
              <p:ext uri="{D42A27DB-BD31-4B8C-83A1-F6EECF244321}">
                <p14:modId xmlns:p14="http://schemas.microsoft.com/office/powerpoint/2010/main" val="2107169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522EA9AE-E627-47C3-91DC-8CA9CDA2B2C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3"/>
            </p:custDataLst>
          </p:nvPr>
        </p:nvSpPr>
        <p:spPr bwMode="ltGray">
          <a:xfrm>
            <a:off x="8476488" y="6501669"/>
            <a:ext cx="244126"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4"/>
            </p:custDataLst>
          </p:nvPr>
        </p:nvSpPr>
        <p:spPr>
          <a:xfrm>
            <a:off x="416052" y="6501669"/>
            <a:ext cx="4851907"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5"/>
            </p:custDataLst>
          </p:nvPr>
        </p:nvSpPr>
        <p:spPr>
          <a:xfrm>
            <a:off x="416052" y="41597"/>
            <a:ext cx="276529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6"/>
            </p:custDataLst>
          </p:nvPr>
        </p:nvSpPr>
        <p:spPr>
          <a:xfrm>
            <a:off x="1129284" y="3841050"/>
            <a:ext cx="6885432"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7"/>
            </p:custDataLst>
          </p:nvPr>
        </p:nvSpPr>
        <p:spPr>
          <a:xfrm>
            <a:off x="1129284" y="4284630"/>
            <a:ext cx="6885432"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8"/>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750324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5.xml"/><Relationship Id="rId29"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tags" Target="../tags/tag137.xml"/><Relationship Id="rId26" Type="http://schemas.openxmlformats.org/officeDocument/2006/relationships/tags" Target="../tags/tag145.xml"/><Relationship Id="rId3" Type="http://schemas.openxmlformats.org/officeDocument/2006/relationships/slideLayout" Target="../slideLayouts/slideLayout18.xml"/><Relationship Id="rId21" Type="http://schemas.openxmlformats.org/officeDocument/2006/relationships/tags" Target="../tags/tag140.xml"/><Relationship Id="rId34" Type="http://schemas.openxmlformats.org/officeDocument/2006/relationships/tags" Target="../tags/tag153.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ags" Target="../tags/tag136.xml"/><Relationship Id="rId25" Type="http://schemas.openxmlformats.org/officeDocument/2006/relationships/tags" Target="../tags/tag144.xml"/><Relationship Id="rId33" Type="http://schemas.openxmlformats.org/officeDocument/2006/relationships/tags" Target="../tags/tag152.xml"/><Relationship Id="rId38" Type="http://schemas.openxmlformats.org/officeDocument/2006/relationships/image" Target="../media/image3.emf"/><Relationship Id="rId2" Type="http://schemas.openxmlformats.org/officeDocument/2006/relationships/slideLayout" Target="../slideLayouts/slideLayout17.xml"/><Relationship Id="rId16" Type="http://schemas.openxmlformats.org/officeDocument/2006/relationships/tags" Target="../tags/tag135.xml"/><Relationship Id="rId20" Type="http://schemas.openxmlformats.org/officeDocument/2006/relationships/tags" Target="../tags/tag139.xml"/><Relationship Id="rId29" Type="http://schemas.openxmlformats.org/officeDocument/2006/relationships/tags" Target="../tags/tag148.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143.xml"/><Relationship Id="rId32" Type="http://schemas.openxmlformats.org/officeDocument/2006/relationships/tags" Target="../tags/tag151.xml"/><Relationship Id="rId37" Type="http://schemas.openxmlformats.org/officeDocument/2006/relationships/oleObject" Target="../embeddings/oleObject17.bin"/><Relationship Id="rId5" Type="http://schemas.openxmlformats.org/officeDocument/2006/relationships/slideLayout" Target="../slideLayouts/slideLayout20.xml"/><Relationship Id="rId15" Type="http://schemas.openxmlformats.org/officeDocument/2006/relationships/theme" Target="../theme/theme2.xml"/><Relationship Id="rId23" Type="http://schemas.openxmlformats.org/officeDocument/2006/relationships/tags" Target="../tags/tag142.xml"/><Relationship Id="rId28" Type="http://schemas.openxmlformats.org/officeDocument/2006/relationships/tags" Target="../tags/tag147.xml"/><Relationship Id="rId36" Type="http://schemas.openxmlformats.org/officeDocument/2006/relationships/tags" Target="../tags/tag155.xml"/><Relationship Id="rId10" Type="http://schemas.openxmlformats.org/officeDocument/2006/relationships/slideLayout" Target="../slideLayouts/slideLayout25.xml"/><Relationship Id="rId19" Type="http://schemas.openxmlformats.org/officeDocument/2006/relationships/tags" Target="../tags/tag138.xml"/><Relationship Id="rId31" Type="http://schemas.openxmlformats.org/officeDocument/2006/relationships/tags" Target="../tags/tag150.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ags" Target="../tags/tag141.xml"/><Relationship Id="rId27" Type="http://schemas.openxmlformats.org/officeDocument/2006/relationships/tags" Target="../tags/tag146.xml"/><Relationship Id="rId30" Type="http://schemas.openxmlformats.org/officeDocument/2006/relationships/tags" Target="../tags/tag149.xml"/><Relationship Id="rId35" Type="http://schemas.openxmlformats.org/officeDocument/2006/relationships/tags" Target="../tags/tag1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tags" Target="../tags/tag252.xml"/><Relationship Id="rId39" Type="http://schemas.openxmlformats.org/officeDocument/2006/relationships/tags" Target="../tags/tag265.xml"/><Relationship Id="rId3" Type="http://schemas.openxmlformats.org/officeDocument/2006/relationships/slideLayout" Target="../slideLayouts/slideLayout32.xml"/><Relationship Id="rId21" Type="http://schemas.openxmlformats.org/officeDocument/2006/relationships/tags" Target="../tags/tag247.xml"/><Relationship Id="rId34" Type="http://schemas.openxmlformats.org/officeDocument/2006/relationships/tags" Target="../tags/tag260.xml"/><Relationship Id="rId42" Type="http://schemas.openxmlformats.org/officeDocument/2006/relationships/oleObject" Target="../embeddings/oleObject32.bin"/><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tags" Target="../tags/tag251.xml"/><Relationship Id="rId33" Type="http://schemas.openxmlformats.org/officeDocument/2006/relationships/tags" Target="../tags/tag259.xml"/><Relationship Id="rId38" Type="http://schemas.openxmlformats.org/officeDocument/2006/relationships/tags" Target="../tags/tag264.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tags" Target="../tags/tag246.xml"/><Relationship Id="rId29" Type="http://schemas.openxmlformats.org/officeDocument/2006/relationships/tags" Target="../tags/tag255.xml"/><Relationship Id="rId41" Type="http://schemas.openxmlformats.org/officeDocument/2006/relationships/tags" Target="../tags/tag267.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tags" Target="../tags/tag250.xml"/><Relationship Id="rId32" Type="http://schemas.openxmlformats.org/officeDocument/2006/relationships/tags" Target="../tags/tag258.xml"/><Relationship Id="rId37" Type="http://schemas.openxmlformats.org/officeDocument/2006/relationships/tags" Target="../tags/tag263.xml"/><Relationship Id="rId40" Type="http://schemas.openxmlformats.org/officeDocument/2006/relationships/tags" Target="../tags/tag266.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tags" Target="../tags/tag249.xml"/><Relationship Id="rId28" Type="http://schemas.openxmlformats.org/officeDocument/2006/relationships/tags" Target="../tags/tag254.xml"/><Relationship Id="rId36" Type="http://schemas.openxmlformats.org/officeDocument/2006/relationships/tags" Target="../tags/tag262.xml"/><Relationship Id="rId10" Type="http://schemas.openxmlformats.org/officeDocument/2006/relationships/slideLayout" Target="../slideLayouts/slideLayout39.xml"/><Relationship Id="rId19" Type="http://schemas.openxmlformats.org/officeDocument/2006/relationships/theme" Target="../theme/theme3.xml"/><Relationship Id="rId31" Type="http://schemas.openxmlformats.org/officeDocument/2006/relationships/tags" Target="../tags/tag257.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tags" Target="../tags/tag248.xml"/><Relationship Id="rId27" Type="http://schemas.openxmlformats.org/officeDocument/2006/relationships/tags" Target="../tags/tag253.xml"/><Relationship Id="rId30" Type="http://schemas.openxmlformats.org/officeDocument/2006/relationships/tags" Target="../tags/tag256.xml"/><Relationship Id="rId35" Type="http://schemas.openxmlformats.org/officeDocument/2006/relationships/tags" Target="../tags/tag261.xml"/><Relationship Id="rId43"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tags" Target="../tags/tag386.xml"/><Relationship Id="rId26" Type="http://schemas.openxmlformats.org/officeDocument/2006/relationships/tags" Target="../tags/tag394.xml"/><Relationship Id="rId3" Type="http://schemas.openxmlformats.org/officeDocument/2006/relationships/slideLayout" Target="../slideLayouts/slideLayout50.xml"/><Relationship Id="rId21" Type="http://schemas.openxmlformats.org/officeDocument/2006/relationships/tags" Target="../tags/tag389.xml"/><Relationship Id="rId34" Type="http://schemas.openxmlformats.org/officeDocument/2006/relationships/tags" Target="../tags/tag402.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tags" Target="../tags/tag385.xml"/><Relationship Id="rId25" Type="http://schemas.openxmlformats.org/officeDocument/2006/relationships/tags" Target="../tags/tag393.xml"/><Relationship Id="rId33" Type="http://schemas.openxmlformats.org/officeDocument/2006/relationships/tags" Target="../tags/tag401.xml"/><Relationship Id="rId38" Type="http://schemas.openxmlformats.org/officeDocument/2006/relationships/image" Target="../media/image1.emf"/><Relationship Id="rId2" Type="http://schemas.openxmlformats.org/officeDocument/2006/relationships/slideLayout" Target="../slideLayouts/slideLayout49.xml"/><Relationship Id="rId16" Type="http://schemas.openxmlformats.org/officeDocument/2006/relationships/tags" Target="../tags/tag384.xml"/><Relationship Id="rId20" Type="http://schemas.openxmlformats.org/officeDocument/2006/relationships/tags" Target="../tags/tag388.xml"/><Relationship Id="rId29" Type="http://schemas.openxmlformats.org/officeDocument/2006/relationships/tags" Target="../tags/tag397.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tags" Target="../tags/tag392.xml"/><Relationship Id="rId32" Type="http://schemas.openxmlformats.org/officeDocument/2006/relationships/tags" Target="../tags/tag400.xml"/><Relationship Id="rId37" Type="http://schemas.openxmlformats.org/officeDocument/2006/relationships/oleObject" Target="../embeddings/oleObject50.bin"/><Relationship Id="rId5" Type="http://schemas.openxmlformats.org/officeDocument/2006/relationships/slideLayout" Target="../slideLayouts/slideLayout52.xml"/><Relationship Id="rId15" Type="http://schemas.openxmlformats.org/officeDocument/2006/relationships/theme" Target="../theme/theme4.xml"/><Relationship Id="rId23" Type="http://schemas.openxmlformats.org/officeDocument/2006/relationships/tags" Target="../tags/tag391.xml"/><Relationship Id="rId28" Type="http://schemas.openxmlformats.org/officeDocument/2006/relationships/tags" Target="../tags/tag396.xml"/><Relationship Id="rId36" Type="http://schemas.openxmlformats.org/officeDocument/2006/relationships/tags" Target="../tags/tag404.xml"/><Relationship Id="rId10" Type="http://schemas.openxmlformats.org/officeDocument/2006/relationships/slideLayout" Target="../slideLayouts/slideLayout57.xml"/><Relationship Id="rId19" Type="http://schemas.openxmlformats.org/officeDocument/2006/relationships/tags" Target="../tags/tag387.xml"/><Relationship Id="rId31" Type="http://schemas.openxmlformats.org/officeDocument/2006/relationships/tags" Target="../tags/tag399.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tags" Target="../tags/tag390.xml"/><Relationship Id="rId27" Type="http://schemas.openxmlformats.org/officeDocument/2006/relationships/tags" Target="../tags/tag395.xml"/><Relationship Id="rId30" Type="http://schemas.openxmlformats.org/officeDocument/2006/relationships/tags" Target="../tags/tag398.xml"/><Relationship Id="rId35" Type="http://schemas.openxmlformats.org/officeDocument/2006/relationships/tags" Target="../tags/tag40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theme" Target="../theme/theme5.xml"/><Relationship Id="rId26" Type="http://schemas.openxmlformats.org/officeDocument/2006/relationships/tags" Target="../tags/tag505.xml"/><Relationship Id="rId39" Type="http://schemas.openxmlformats.org/officeDocument/2006/relationships/tags" Target="../tags/tag518.xml"/><Relationship Id="rId3" Type="http://schemas.openxmlformats.org/officeDocument/2006/relationships/slideLayout" Target="../slideLayouts/slideLayout64.xml"/><Relationship Id="rId21" Type="http://schemas.openxmlformats.org/officeDocument/2006/relationships/tags" Target="../tags/tag500.xml"/><Relationship Id="rId34" Type="http://schemas.openxmlformats.org/officeDocument/2006/relationships/tags" Target="../tags/tag513.xml"/><Relationship Id="rId42" Type="http://schemas.openxmlformats.org/officeDocument/2006/relationships/image" Target="../media/image1.emf"/><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tags" Target="../tags/tag504.xml"/><Relationship Id="rId33" Type="http://schemas.openxmlformats.org/officeDocument/2006/relationships/tags" Target="../tags/tag512.xml"/><Relationship Id="rId38" Type="http://schemas.openxmlformats.org/officeDocument/2006/relationships/tags" Target="../tags/tag517.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tags" Target="../tags/tag499.xml"/><Relationship Id="rId29" Type="http://schemas.openxmlformats.org/officeDocument/2006/relationships/tags" Target="../tags/tag508.xml"/><Relationship Id="rId41" Type="http://schemas.openxmlformats.org/officeDocument/2006/relationships/oleObject" Target="../embeddings/oleObject65.bin"/><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ags" Target="../tags/tag503.xml"/><Relationship Id="rId32" Type="http://schemas.openxmlformats.org/officeDocument/2006/relationships/tags" Target="../tags/tag511.xml"/><Relationship Id="rId37" Type="http://schemas.openxmlformats.org/officeDocument/2006/relationships/tags" Target="../tags/tag516.xml"/><Relationship Id="rId40" Type="http://schemas.openxmlformats.org/officeDocument/2006/relationships/tags" Target="../tags/tag519.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tags" Target="../tags/tag502.xml"/><Relationship Id="rId28" Type="http://schemas.openxmlformats.org/officeDocument/2006/relationships/tags" Target="../tags/tag507.xml"/><Relationship Id="rId36" Type="http://schemas.openxmlformats.org/officeDocument/2006/relationships/tags" Target="../tags/tag515.xml"/><Relationship Id="rId10" Type="http://schemas.openxmlformats.org/officeDocument/2006/relationships/slideLayout" Target="../slideLayouts/slideLayout71.xml"/><Relationship Id="rId19" Type="http://schemas.openxmlformats.org/officeDocument/2006/relationships/tags" Target="../tags/tag498.xml"/><Relationship Id="rId31" Type="http://schemas.openxmlformats.org/officeDocument/2006/relationships/tags" Target="../tags/tag51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tags" Target="../tags/tag501.xml"/><Relationship Id="rId27" Type="http://schemas.openxmlformats.org/officeDocument/2006/relationships/tags" Target="../tags/tag506.xml"/><Relationship Id="rId30" Type="http://schemas.openxmlformats.org/officeDocument/2006/relationships/tags" Target="../tags/tag509.xml"/><Relationship Id="rId35" Type="http://schemas.openxmlformats.org/officeDocument/2006/relationships/tags" Target="../tags/tag51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tags" Target="../tags/tag633.xml"/><Relationship Id="rId26" Type="http://schemas.openxmlformats.org/officeDocument/2006/relationships/tags" Target="../tags/tag641.xml"/><Relationship Id="rId3" Type="http://schemas.openxmlformats.org/officeDocument/2006/relationships/slideLayout" Target="../slideLayouts/slideLayout81.xml"/><Relationship Id="rId21" Type="http://schemas.openxmlformats.org/officeDocument/2006/relationships/tags" Target="../tags/tag636.xml"/><Relationship Id="rId34" Type="http://schemas.openxmlformats.org/officeDocument/2006/relationships/tags" Target="../tags/tag649.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tags" Target="../tags/tag632.xml"/><Relationship Id="rId25" Type="http://schemas.openxmlformats.org/officeDocument/2006/relationships/tags" Target="../tags/tag640.xml"/><Relationship Id="rId33" Type="http://schemas.openxmlformats.org/officeDocument/2006/relationships/tags" Target="../tags/tag648.xml"/><Relationship Id="rId38" Type="http://schemas.openxmlformats.org/officeDocument/2006/relationships/image" Target="../media/image1.emf"/><Relationship Id="rId2" Type="http://schemas.openxmlformats.org/officeDocument/2006/relationships/slideLayout" Target="../slideLayouts/slideLayout80.xml"/><Relationship Id="rId16" Type="http://schemas.openxmlformats.org/officeDocument/2006/relationships/tags" Target="../tags/tag631.xml"/><Relationship Id="rId20" Type="http://schemas.openxmlformats.org/officeDocument/2006/relationships/tags" Target="../tags/tag635.xml"/><Relationship Id="rId29" Type="http://schemas.openxmlformats.org/officeDocument/2006/relationships/tags" Target="../tags/tag644.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tags" Target="../tags/tag639.xml"/><Relationship Id="rId32" Type="http://schemas.openxmlformats.org/officeDocument/2006/relationships/tags" Target="../tags/tag647.xml"/><Relationship Id="rId37" Type="http://schemas.openxmlformats.org/officeDocument/2006/relationships/oleObject" Target="../embeddings/oleObject81.bin"/><Relationship Id="rId5" Type="http://schemas.openxmlformats.org/officeDocument/2006/relationships/slideLayout" Target="../slideLayouts/slideLayout83.xml"/><Relationship Id="rId15" Type="http://schemas.openxmlformats.org/officeDocument/2006/relationships/theme" Target="../theme/theme6.xml"/><Relationship Id="rId23" Type="http://schemas.openxmlformats.org/officeDocument/2006/relationships/tags" Target="../tags/tag638.xml"/><Relationship Id="rId28" Type="http://schemas.openxmlformats.org/officeDocument/2006/relationships/tags" Target="../tags/tag643.xml"/><Relationship Id="rId36" Type="http://schemas.openxmlformats.org/officeDocument/2006/relationships/tags" Target="../tags/tag651.xml"/><Relationship Id="rId10" Type="http://schemas.openxmlformats.org/officeDocument/2006/relationships/slideLayout" Target="../slideLayouts/slideLayout88.xml"/><Relationship Id="rId19" Type="http://schemas.openxmlformats.org/officeDocument/2006/relationships/tags" Target="../tags/tag634.xml"/><Relationship Id="rId31" Type="http://schemas.openxmlformats.org/officeDocument/2006/relationships/tags" Target="../tags/tag646.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tags" Target="../tags/tag637.xml"/><Relationship Id="rId27" Type="http://schemas.openxmlformats.org/officeDocument/2006/relationships/tags" Target="../tags/tag642.xml"/><Relationship Id="rId30" Type="http://schemas.openxmlformats.org/officeDocument/2006/relationships/tags" Target="../tags/tag645.xml"/><Relationship Id="rId35" Type="http://schemas.openxmlformats.org/officeDocument/2006/relationships/tags" Target="../tags/tag65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tags" Target="../tags/tag746.xml"/><Relationship Id="rId26" Type="http://schemas.openxmlformats.org/officeDocument/2006/relationships/tags" Target="../tags/tag754.xml"/><Relationship Id="rId39" Type="http://schemas.openxmlformats.org/officeDocument/2006/relationships/oleObject" Target="../embeddings/oleObject96.bin"/><Relationship Id="rId3" Type="http://schemas.openxmlformats.org/officeDocument/2006/relationships/slideLayout" Target="../slideLayouts/slideLayout95.xml"/><Relationship Id="rId21" Type="http://schemas.openxmlformats.org/officeDocument/2006/relationships/tags" Target="../tags/tag749.xml"/><Relationship Id="rId34" Type="http://schemas.openxmlformats.org/officeDocument/2006/relationships/tags" Target="../tags/tag762.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tags" Target="../tags/tag745.xml"/><Relationship Id="rId25" Type="http://schemas.openxmlformats.org/officeDocument/2006/relationships/tags" Target="../tags/tag753.xml"/><Relationship Id="rId33" Type="http://schemas.openxmlformats.org/officeDocument/2006/relationships/tags" Target="../tags/tag761.xml"/><Relationship Id="rId38" Type="http://schemas.openxmlformats.org/officeDocument/2006/relationships/tags" Target="../tags/tag766.xml"/><Relationship Id="rId2" Type="http://schemas.openxmlformats.org/officeDocument/2006/relationships/slideLayout" Target="../slideLayouts/slideLayout94.xml"/><Relationship Id="rId16" Type="http://schemas.openxmlformats.org/officeDocument/2006/relationships/theme" Target="../theme/theme7.xml"/><Relationship Id="rId20" Type="http://schemas.openxmlformats.org/officeDocument/2006/relationships/tags" Target="../tags/tag748.xml"/><Relationship Id="rId29" Type="http://schemas.openxmlformats.org/officeDocument/2006/relationships/tags" Target="../tags/tag757.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24" Type="http://schemas.openxmlformats.org/officeDocument/2006/relationships/tags" Target="../tags/tag752.xml"/><Relationship Id="rId32" Type="http://schemas.openxmlformats.org/officeDocument/2006/relationships/tags" Target="../tags/tag760.xml"/><Relationship Id="rId37" Type="http://schemas.openxmlformats.org/officeDocument/2006/relationships/tags" Target="../tags/tag765.xml"/><Relationship Id="rId40" Type="http://schemas.openxmlformats.org/officeDocument/2006/relationships/image" Target="../media/image1.emf"/><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tags" Target="../tags/tag751.xml"/><Relationship Id="rId28" Type="http://schemas.openxmlformats.org/officeDocument/2006/relationships/tags" Target="../tags/tag756.xml"/><Relationship Id="rId36" Type="http://schemas.openxmlformats.org/officeDocument/2006/relationships/tags" Target="../tags/tag764.xml"/><Relationship Id="rId10" Type="http://schemas.openxmlformats.org/officeDocument/2006/relationships/slideLayout" Target="../slideLayouts/slideLayout102.xml"/><Relationship Id="rId19" Type="http://schemas.openxmlformats.org/officeDocument/2006/relationships/tags" Target="../tags/tag747.xml"/><Relationship Id="rId31" Type="http://schemas.openxmlformats.org/officeDocument/2006/relationships/tags" Target="../tags/tag759.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tags" Target="../tags/tag750.xml"/><Relationship Id="rId27" Type="http://schemas.openxmlformats.org/officeDocument/2006/relationships/tags" Target="../tags/tag755.xml"/><Relationship Id="rId30" Type="http://schemas.openxmlformats.org/officeDocument/2006/relationships/tags" Target="../tags/tag758.xml"/><Relationship Id="rId35" Type="http://schemas.openxmlformats.org/officeDocument/2006/relationships/tags" Target="../tags/tag7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17"/>
            </p:custDataLst>
            <p:extLst>
              <p:ext uri="{D42A27DB-BD31-4B8C-83A1-F6EECF244321}">
                <p14:modId xmlns:p14="http://schemas.microsoft.com/office/powerpoint/2010/main" val="2288467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572" imgH="588" progId="TCLayout.ActiveDocument.1">
                  <p:embed/>
                </p:oleObj>
              </mc:Choice>
              <mc:Fallback>
                <p:oleObj name="think-cell Slide" r:id="rId39"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19"/>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0"/>
            </p:custDataLst>
          </p:nvPr>
        </p:nvSpPr>
        <p:spPr>
          <a:xfrm>
            <a:off x="416052" y="173736"/>
            <a:ext cx="8311896"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1"/>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2"/>
            </p:custDataLst>
          </p:nvPr>
        </p:nvSpPr>
        <p:spPr>
          <a:xfrm>
            <a:off x="415925" y="2133599"/>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15925" y="2155825"/>
            <a:ext cx="2168863" cy="143372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7892047" y="4396889"/>
            <a:ext cx="835901" cy="1686504"/>
            <a:chOff x="7756825" y="4379430"/>
            <a:chExt cx="835901"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7601970" y="3237562"/>
            <a:ext cx="1125978" cy="927508"/>
            <a:chOff x="7495285" y="2250552"/>
            <a:chExt cx="1125978"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7865561" y="1289273"/>
            <a:ext cx="862387" cy="1731859"/>
            <a:chOff x="7723680" y="1702457"/>
            <a:chExt cx="862387"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3"/>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
        <p:nvSpPr>
          <p:cNvPr id="6" name="SlideLogoText" hidden="1">
            <a:extLst>
              <a:ext uri="{FF2B5EF4-FFF2-40B4-BE49-F238E27FC236}">
                <a16:creationId xmlns:a16="http://schemas.microsoft.com/office/drawing/2014/main" id="{58FB3693-AC27-4699-841D-4547D247D81A}"/>
              </a:ext>
            </a:extLst>
          </p:cNvPr>
          <p:cNvSpPr txBox="1"/>
          <p:nvPr userDrawn="1"/>
        </p:nvSpPr>
        <p:spPr>
          <a:xfrm>
            <a:off x="7271296" y="6570762"/>
            <a:ext cx="65" cy="153888"/>
          </a:xfrm>
          <a:prstGeom prst="rect">
            <a:avLst/>
          </a:prstGeom>
          <a:ln w="6350">
            <a:noFill/>
            <a:miter lim="800000"/>
          </a:ln>
        </p:spPr>
        <p:txBody>
          <a:bodyPr vert="horz" wrap="none" lIns="0" tIns="0" rIns="0" bIns="0" rtlCol="0">
            <a:spAutoFit/>
          </a:bodyPr>
          <a:lstStyle/>
          <a:p>
            <a:pPr algn="l">
              <a:spcBef>
                <a:spcPts val="300"/>
              </a:spcBef>
              <a:spcAft>
                <a:spcPts val="300"/>
              </a:spcAft>
              <a:buNone/>
            </a:pPr>
            <a:endParaRPr lang="en-US" sz="1000" dirty="0">
              <a:solidFill>
                <a:schemeClr val="tx1"/>
              </a:solidFill>
            </a:endParaRPr>
          </a:p>
        </p:txBody>
      </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885" r:id="rId2"/>
    <p:sldLayoutId id="2147483654" r:id="rId3"/>
    <p:sldLayoutId id="2147483807" r:id="rId4"/>
    <p:sldLayoutId id="2147483800" r:id="rId5"/>
    <p:sldLayoutId id="2147483659" r:id="rId6"/>
    <p:sldLayoutId id="2147483804" r:id="rId7"/>
    <p:sldLayoutId id="2147483860" r:id="rId8"/>
    <p:sldLayoutId id="2147483856" r:id="rId9"/>
    <p:sldLayoutId id="2147483805" r:id="rId10"/>
    <p:sldLayoutId id="2147483806" r:id="rId11"/>
    <p:sldLayoutId id="2147483882" r:id="rId12"/>
    <p:sldLayoutId id="2147483879" r:id="rId13"/>
    <p:sldLayoutId id="2147483859" r:id="rId14"/>
    <p:sldLayoutId id="2147483718" r:id="rId15"/>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userDrawn="1">
          <p15:clr>
            <a:srgbClr val="5ACBF0"/>
          </p15:clr>
        </p15:guide>
        <p15:guide id="3" orient="horz" pos="3912" userDrawn="1">
          <p15:clr>
            <a:srgbClr val="5ACBF0"/>
          </p15:clr>
        </p15:guide>
        <p15:guide id="4" orient="horz" pos="1075" userDrawn="1">
          <p15:clr>
            <a:srgbClr val="F26B43"/>
          </p15:clr>
        </p15:guide>
        <p15:guide id="5" pos="5497" userDrawn="1">
          <p15:clr>
            <a:srgbClr val="F26B43"/>
          </p15:clr>
        </p15:guide>
        <p15:guide id="6" pos="259" userDrawn="1">
          <p15:clr>
            <a:srgbClr val="F26B43"/>
          </p15:clr>
        </p15:guide>
        <p15:guide id="8" orient="horz" pos="406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ADF5077A-B40D-49E9-B6CD-930C85878227}"/>
              </a:ext>
            </a:extLst>
          </p:cNvPr>
          <p:cNvGraphicFramePr>
            <a:graphicFrameLocks noChangeAspect="1"/>
          </p:cNvGraphicFramePr>
          <p:nvPr userDrawn="1">
            <p:custDataLst>
              <p:tags r:id="rId16"/>
            </p:custDataLst>
            <p:extLst>
              <p:ext uri="{D42A27DB-BD31-4B8C-83A1-F6EECF244321}">
                <p14:modId xmlns:p14="http://schemas.microsoft.com/office/powerpoint/2010/main" val="3285203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3" imgH="416" progId="TCLayout.ActiveDocument.1">
                  <p:embed/>
                </p:oleObj>
              </mc:Choice>
              <mc:Fallback>
                <p:oleObj name="think-cell Slide" r:id="rId37" imgW="413" imgH="416" progId="TCLayout.ActiveDocument.1">
                  <p:embed/>
                  <p:pic>
                    <p:nvPicPr>
                      <p:cNvPr id="4" name="Object 2" hidden="1">
                        <a:extLst>
                          <a:ext uri="{FF2B5EF4-FFF2-40B4-BE49-F238E27FC236}">
                            <a16:creationId xmlns:a16="http://schemas.microsoft.com/office/drawing/2014/main" id="{ADF5077A-B40D-49E9-B6CD-930C85878227}"/>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5" name="Rectangle 3" hidden="1">
            <a:extLst>
              <a:ext uri="{FF2B5EF4-FFF2-40B4-BE49-F238E27FC236}">
                <a16:creationId xmlns:a16="http://schemas.microsoft.com/office/drawing/2014/main" id="{29A6C57F-0DCF-49B4-A828-5C29D59227EA}"/>
              </a:ext>
            </a:extLst>
          </p:cNvPr>
          <p:cNvSpPr/>
          <p:nvPr userDrawn="1">
            <p:custDataLst>
              <p:tags r:id="rId17"/>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45" name="4. Footnote" hidden="1">
            <a:extLst>
              <a:ext uri="{FF2B5EF4-FFF2-40B4-BE49-F238E27FC236}">
                <a16:creationId xmlns:a16="http://schemas.microsoft.com/office/drawing/2014/main" id="{58B91ABE-1EA4-4D33-B527-A7280E439CFF}"/>
              </a:ext>
            </a:extLst>
          </p:cNvPr>
          <p:cNvSpPr txBox="1"/>
          <p:nvPr userDrawn="1">
            <p:custDataLst>
              <p:tags r:id="rId18"/>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19"/>
            </p:custDataLst>
          </p:nvPr>
        </p:nvSpPr>
        <p:spPr>
          <a:xfrm>
            <a:off x="416052" y="173736"/>
            <a:ext cx="8311896" cy="338554"/>
          </a:xfrm>
          <a:prstGeom prst="rect">
            <a:avLst/>
          </a:prstGeom>
        </p:spPr>
        <p:txBody>
          <a:bodyPr vert="horz" wrap="square" lIns="0" tIns="0" rIns="0" bIns="0" rtlCol="0" anchor="t" anchorCtr="0">
            <a:spAutoFit/>
          </a:bodyPr>
          <a:lstStyle/>
          <a:p>
            <a:pPr lvl="0"/>
            <a:r>
              <a:rPr lang="en-US" dirty="0"/>
              <a:t>Click to edit Master title style</a:t>
            </a:r>
          </a:p>
        </p:txBody>
      </p:sp>
      <p:grpSp>
        <p:nvGrpSpPr>
          <p:cNvPr id="58" name="Grid" hidden="1">
            <a:extLst>
              <a:ext uri="{FF2B5EF4-FFF2-40B4-BE49-F238E27FC236}">
                <a16:creationId xmlns:a16="http://schemas.microsoft.com/office/drawing/2014/main" id="{9649E640-8714-440D-BDAF-B74AB2A6EB66}"/>
              </a:ext>
            </a:extLst>
          </p:cNvPr>
          <p:cNvGrpSpPr/>
          <p:nvPr userDrawn="1">
            <p:custDataLst>
              <p:tags r:id="rId20"/>
            </p:custDataLst>
          </p:nvPr>
        </p:nvGrpSpPr>
        <p:grpSpPr bwMode="blackGray">
          <a:xfrm>
            <a:off x="1" y="0"/>
            <a:ext cx="9142857" cy="6858000"/>
            <a:chOff x="0" y="0"/>
            <a:chExt cx="12190476" cy="6858000"/>
          </a:xfrm>
        </p:grpSpPr>
        <p:sp>
          <p:nvSpPr>
            <p:cNvPr id="59" name="slide margin">
              <a:extLst>
                <a:ext uri="{FF2B5EF4-FFF2-40B4-BE49-F238E27FC236}">
                  <a16:creationId xmlns:a16="http://schemas.microsoft.com/office/drawing/2014/main" id="{66BB9FB9-B527-4EA5-83E9-7FDE924D3C75}"/>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60" name="Straight Connector 59">
              <a:extLst>
                <a:ext uri="{FF2B5EF4-FFF2-40B4-BE49-F238E27FC236}">
                  <a16:creationId xmlns:a16="http://schemas.microsoft.com/office/drawing/2014/main" id="{8EFC78F4-BB47-4C26-840A-A2D68F34CF9A}"/>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B2F5785C-C55D-4A5B-94B1-A7504E6345A3}"/>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9B889190-9120-4340-9EE8-A654DCFF8459}"/>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5BB4D90-C72C-4E0A-92CA-007742073F5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E96C0A8-EFE0-4D82-96BE-7FFBB1703A70}"/>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925DEC6-918B-49B3-A9A8-BE331C03D2A9}"/>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D9F0483-2B10-44EE-9292-7184C12AA561}"/>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974E10B-01C5-4F88-85DA-20BB11CE7185}"/>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FE0C66F-6B8B-4D99-A75F-AF5E16734EE0}"/>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50BC9EDD-7DE6-4BFD-B8BA-096FC68547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5A68F5E3-97AE-485D-95D6-E376CCAA9FD2}"/>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A7F5461A-5DFF-411F-8D51-6D8A8D41633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2" name="Freeform: Shape 71">
              <a:extLst>
                <a:ext uri="{FF2B5EF4-FFF2-40B4-BE49-F238E27FC236}">
                  <a16:creationId xmlns:a16="http://schemas.microsoft.com/office/drawing/2014/main" id="{D6EB1BED-78CC-4D32-B9EC-365F21E504C5}"/>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66B2B0CE-BED2-4A8E-B976-7A60F64DFC00}"/>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E56C1226-B98B-4EDB-9E6A-6B515D35770B}"/>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8EA0791D-4B6C-4906-9CFA-B55A0B320381}"/>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62F2EF8E-4944-4213-BD0D-5970084500D6}"/>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D9016A2A-6D82-40E7-8018-47D0C07AA5BD}"/>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66FD7100-EF42-45BD-94B5-613A2F04C185}"/>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603E0798-63B3-4C27-8EBF-F386A83E6517}"/>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9137967C-7A1F-4023-8A97-0F07821B33BE}"/>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98B56E15-B97E-4FAE-B8E8-EDCF6CC9707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E9E2D6A-37E4-4841-8D15-5B45C43CF7CB}"/>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AE4FE627-0370-4AA8-B4DE-A569CDE73DB0}"/>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DEC52A46-4F00-45B8-B38F-F07F7F22AB22}"/>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19E3B94A-3673-41A7-9697-CE5C4EE0F9A4}"/>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F1D190D1-CF33-4B30-AF55-DFDB9C0BB517}"/>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48F080D0-64C3-40E2-99B4-0D09EA5F0D04}"/>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13C25522-509A-4F8D-9939-5FA7AE7F2ECA}"/>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32528FF8-649D-413B-9158-202C45C3D702}"/>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420C7226-6F28-47F6-A367-D463497FBBC1}"/>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61603A5D-A8DF-4F11-9413-9609B7239201}"/>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01263FD4-650A-474B-ADA5-6E5DE2E7B75F}"/>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3" name="Freeform: Shape 92">
              <a:extLst>
                <a:ext uri="{FF2B5EF4-FFF2-40B4-BE49-F238E27FC236}">
                  <a16:creationId xmlns:a16="http://schemas.microsoft.com/office/drawing/2014/main" id="{13692E4C-571A-4A8A-BFAD-1628979B77C0}"/>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4" name="Freeform: Shape 93">
              <a:extLst>
                <a:ext uri="{FF2B5EF4-FFF2-40B4-BE49-F238E27FC236}">
                  <a16:creationId xmlns:a16="http://schemas.microsoft.com/office/drawing/2014/main" id="{2D3326C5-787B-4AFF-8F81-410A4B4FACB5}"/>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5" name="Freeform: Shape 94">
              <a:extLst>
                <a:ext uri="{FF2B5EF4-FFF2-40B4-BE49-F238E27FC236}">
                  <a16:creationId xmlns:a16="http://schemas.microsoft.com/office/drawing/2014/main" id="{053A6D0A-9EAC-478A-99B1-907537C49B56}"/>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6" name="Freeform: Shape 95">
              <a:extLst>
                <a:ext uri="{FF2B5EF4-FFF2-40B4-BE49-F238E27FC236}">
                  <a16:creationId xmlns:a16="http://schemas.microsoft.com/office/drawing/2014/main" id="{B6B81E14-5348-4227-99A4-CF914719ACFC}"/>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7" name="Straight Connector 96">
              <a:extLst>
                <a:ext uri="{FF2B5EF4-FFF2-40B4-BE49-F238E27FC236}">
                  <a16:creationId xmlns:a16="http://schemas.microsoft.com/office/drawing/2014/main" id="{143F8F32-7929-442F-8BB7-C0C66FB90D55}"/>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C9B89D8-9CD1-41D4-AC34-E9A57C6FFEBA}"/>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24B0C090-3EFB-46F4-8DBC-1839EC90FCDF}"/>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875AF502-AF31-4C6C-A53B-8AEE06C3C7FB}"/>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6212CA46-8F32-40B5-A0D8-FC16417D9371}"/>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3B21382-0085-4175-8AC0-F94DFA036D94}"/>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907B38DD-D005-464C-8AB2-BF535814140D}"/>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0CF34C7-8B28-4604-A373-40B4C721B966}"/>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A900DA3F-2486-492C-B7B2-1E663023D25F}"/>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66948A37-4236-499A-A949-85D8B19E30AB}"/>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CA5E68F8-CB8E-40D8-90FB-3603AF503419}"/>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77621762-8D65-416D-A587-2C2334BE7047}"/>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98D364B-A4C9-43E1-8D85-C5CC616BC6B5}"/>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19931614-E06C-4E43-A98F-E5FF3D9E39C4}"/>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75966B1F-DD62-45E3-B328-3DBD775B42FA}"/>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FDEB7800-7AC2-4538-8AE8-F911639FD427}"/>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9A115FB2-DC4D-436A-8063-FF137CAE6389}"/>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98FF541-9EB3-49B1-897B-D336CCA567B8}"/>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4260A649-3D6D-4BC6-946A-6928B95F81CC}"/>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F8BE56A6-B42B-4B9C-90E3-84B14199434E}"/>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C4EC45F3-37D7-44EE-A849-842E1535952B}"/>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158631F1-B7AA-40DE-B525-55DB7146B7C0}"/>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F51C7B3B-ADBB-43C5-82F1-FE1246B1F92D}"/>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95CE7C2D-DFB0-4C7E-AFFB-827F7DC37F45}"/>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70C15565-1864-42C1-8791-4CA22CD27A7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C37EAB08-5991-46B9-A2EF-524961B3F21E}"/>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0E2CEF5-BAA6-4E34-B91C-7AA2E535007E}"/>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0B41CC35-5CAF-4787-92BC-2280B3D7C5A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36BAFFA-3892-4930-BEDC-F5374DF3C70C}"/>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BF40D988-40F2-4D98-8536-F98F87FECD78}"/>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37C48DC-629B-488D-A8BA-827B057FF370}"/>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7FBAB12-8763-4178-A84F-1AC12282F22B}"/>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2B4E1970-E83D-41AA-A923-1370D54AA2E3}"/>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ACBBE67-427E-45ED-BE57-9DCFD90768BB}"/>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CEB291A1-7CB7-4CC7-A0AF-92DE6363D415}"/>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E207257-9E01-42E0-9B60-49057E56A267}"/>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BE46D29A-3863-4E5B-AACA-73AD1278E6E0}"/>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4BCDEE12-5C12-4C99-9776-AD55011F32D9}"/>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C8F4A8FC-962B-4CFC-B40A-5BB4703635C6}"/>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B60DD79-5964-4499-8116-CE245C9F9726}"/>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ADAE6510-8C95-4A68-B84B-98F6C980AF4D}"/>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9CB38C0C-133A-46B0-AFF7-3BB73278AE29}"/>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0B8911-0E96-49A4-A77E-E1CBF561D651}"/>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4B3128C-44A7-4090-B140-13F329C65E5F}"/>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2" name="main body box">
              <a:extLst>
                <a:ext uri="{FF2B5EF4-FFF2-40B4-BE49-F238E27FC236}">
                  <a16:creationId xmlns:a16="http://schemas.microsoft.com/office/drawing/2014/main" id="{971F9B34-45CC-49E1-8D54-75CCE459F143}"/>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43" name="Straight Connector 142">
              <a:extLst>
                <a:ext uri="{FF2B5EF4-FFF2-40B4-BE49-F238E27FC236}">
                  <a16:creationId xmlns:a16="http://schemas.microsoft.com/office/drawing/2014/main" id="{4975051F-B1E9-4B77-B1CE-656C40400806}"/>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4" name="Straight Connector 143">
              <a:extLst>
                <a:ext uri="{FF2B5EF4-FFF2-40B4-BE49-F238E27FC236}">
                  <a16:creationId xmlns:a16="http://schemas.microsoft.com/office/drawing/2014/main" id="{11499B0E-A65F-4C3C-9EF2-ACEEFC52BA10}"/>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79" name="Sticker" hidden="1">
            <a:extLst>
              <a:ext uri="{FF2B5EF4-FFF2-40B4-BE49-F238E27FC236}">
                <a16:creationId xmlns:a16="http://schemas.microsoft.com/office/drawing/2014/main" id="{D5A3AED6-095A-4E0F-BBC2-F64956A5A35F}"/>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81" name="Text Placeholder 2">
            <a:extLst>
              <a:ext uri="{FF2B5EF4-FFF2-40B4-BE49-F238E27FC236}">
                <a16:creationId xmlns:a16="http://schemas.microsoft.com/office/drawing/2014/main" id="{7250CB3F-D950-40B0-AE7A-A36A3C1D43B7}"/>
              </a:ext>
            </a:extLst>
          </p:cNvPr>
          <p:cNvSpPr>
            <a:spLocks noGrp="1"/>
          </p:cNvSpPr>
          <p:nvPr>
            <p:ph type="body" idx="1"/>
          </p:nvPr>
        </p:nvSpPr>
        <p:spPr>
          <a:xfrm>
            <a:off x="415925" y="2155825"/>
            <a:ext cx="2168863" cy="1446550"/>
          </a:xfrm>
          <a:prstGeom prst="rect">
            <a:avLst/>
          </a:prstGeom>
        </p:spPr>
        <p:txBody>
          <a:bodyPr vert="horz" wrap="square" lIns="0" tIns="0" rIns="0" bIns="0" rtlCol="0">
            <a:spAutoFit/>
          </a:bodyPr>
          <a:lstStyle/>
          <a:p>
            <a:pPr lvl="0"/>
            <a:r>
              <a:rPr lang="en-US" dirty="0"/>
              <a:t>Click to edit Master text styles</a:t>
            </a:r>
          </a:p>
          <a:p>
            <a:pPr marL="228600" lvl="1" indent="-225425" algn="l" defTabSz="914400" rtl="0" eaLnBrk="1" latinLnBrk="0" hangingPunct="1">
              <a:lnSpc>
                <a:spcPct val="100000"/>
              </a:lnSpc>
              <a:spcBef>
                <a:spcPts val="0"/>
              </a:spcBef>
              <a:spcAft>
                <a:spcPts val="300"/>
              </a:spcAft>
              <a:buSzPct val="110000"/>
              <a:buFont typeface="Wingdings" panose="05000000000000000000" pitchFamily="2" charset="2"/>
              <a:buChar char=""/>
            </a:pPr>
            <a:r>
              <a:rPr lang="en-US" dirty="0"/>
              <a:t>Second level</a:t>
            </a:r>
          </a:p>
          <a:p>
            <a:pPr marL="442913" lvl="2" indent="-214313" algn="l" defTabSz="914400" rtl="0" eaLnBrk="1" latinLnBrk="0" hangingPunct="1">
              <a:lnSpc>
                <a:spcPct val="100000"/>
              </a:lnSpc>
              <a:spcBef>
                <a:spcPts val="0"/>
              </a:spcBef>
              <a:spcAft>
                <a:spcPts val="300"/>
              </a:spcAft>
              <a:buSzPct val="110000"/>
              <a:buFont typeface="Arial" panose="020B0604020202020204" pitchFamily="34" charset="0"/>
              <a:buChar char="‒"/>
            </a:pPr>
            <a:r>
              <a:rPr lang="en-US" dirty="0"/>
              <a:t>Third level</a:t>
            </a:r>
          </a:p>
          <a:p>
            <a:pPr marL="598488" lvl="3" indent="-152400" algn="l" defTabSz="914400" rtl="0" eaLnBrk="1" latinLnBrk="0" hangingPunct="1">
              <a:lnSpc>
                <a:spcPct val="100000"/>
              </a:lnSpc>
              <a:spcBef>
                <a:spcPts val="0"/>
              </a:spcBef>
              <a:spcAft>
                <a:spcPts val="300"/>
              </a:spcAft>
              <a:buFont typeface="Arial" panose="020B0604020202020204" pitchFamily="34" charset="0"/>
              <a:buChar char="•"/>
            </a:pPr>
            <a:r>
              <a:rPr lang="en-US" dirty="0"/>
              <a:t>Fourth level</a:t>
            </a:r>
          </a:p>
          <a:p>
            <a:pPr marL="817563" lvl="4" indent="-147638" algn="l" defTabSz="914400" rtl="0" eaLnBrk="1" latinLnBrk="0" hangingPunct="1">
              <a:lnSpc>
                <a:spcPct val="100000"/>
              </a:lnSpc>
              <a:spcBef>
                <a:spcPts val="0"/>
              </a:spcBef>
              <a:spcAft>
                <a:spcPts val="300"/>
              </a:spcAft>
              <a:buSzPct val="100000"/>
              <a:buFont typeface="Arial" panose="020B0604020202020204" pitchFamily="34" charset="0"/>
              <a:buChar char="̶"/>
            </a:pPr>
            <a:r>
              <a:rPr lang="en-US" dirty="0"/>
              <a:t>Fifth level</a:t>
            </a:r>
          </a:p>
        </p:txBody>
      </p:sp>
      <p:sp>
        <p:nvSpPr>
          <p:cNvPr id="148" name="ACET" hidden="1">
            <a:extLst>
              <a:ext uri="{FF2B5EF4-FFF2-40B4-BE49-F238E27FC236}">
                <a16:creationId xmlns:a16="http://schemas.microsoft.com/office/drawing/2014/main" id="{E2A40DA4-2968-440F-8EF9-A748702F6C09}"/>
              </a:ext>
            </a:extLst>
          </p:cNvPr>
          <p:cNvSpPr txBox="1"/>
          <p:nvPr userDrawn="1">
            <p:custDataLst>
              <p:tags r:id="rId21"/>
            </p:custDataLst>
          </p:nvPr>
        </p:nvSpPr>
        <p:spPr>
          <a:xfrm>
            <a:off x="415925" y="2133600"/>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grpSp>
        <p:nvGrpSpPr>
          <p:cNvPr id="146" name="LegendBoxes" hidden="1">
            <a:extLst>
              <a:ext uri="{FF2B5EF4-FFF2-40B4-BE49-F238E27FC236}">
                <a16:creationId xmlns:a16="http://schemas.microsoft.com/office/drawing/2014/main" id="{E0A09D9C-D3DD-4743-8AAB-92B033D79258}"/>
              </a:ext>
            </a:extLst>
          </p:cNvPr>
          <p:cNvGrpSpPr/>
          <p:nvPr userDrawn="1"/>
        </p:nvGrpSpPr>
        <p:grpSpPr>
          <a:xfrm>
            <a:off x="7892047" y="4340399"/>
            <a:ext cx="835901" cy="1686504"/>
            <a:chOff x="7756825" y="4379430"/>
            <a:chExt cx="835901" cy="1686504"/>
          </a:xfrm>
        </p:grpSpPr>
        <p:sp>
          <p:nvSpPr>
            <p:cNvPr id="170" name="RectangleLegend1">
              <a:extLst>
                <a:ext uri="{FF2B5EF4-FFF2-40B4-BE49-F238E27FC236}">
                  <a16:creationId xmlns:a16="http://schemas.microsoft.com/office/drawing/2014/main" id="{88A1A98E-82C7-42FC-B1A4-DFC0CB3162DC}"/>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71" name="RectangleLegend2">
              <a:extLst>
                <a:ext uri="{FF2B5EF4-FFF2-40B4-BE49-F238E27FC236}">
                  <a16:creationId xmlns:a16="http://schemas.microsoft.com/office/drawing/2014/main" id="{9C048AB1-C464-4D6F-8542-20BB621C3951}"/>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72" name="RectangleLegend3">
              <a:extLst>
                <a:ext uri="{FF2B5EF4-FFF2-40B4-BE49-F238E27FC236}">
                  <a16:creationId xmlns:a16="http://schemas.microsoft.com/office/drawing/2014/main" id="{72798CE4-73A9-4948-B732-0FD23AA43B71}"/>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80" name="RectangleLegend4">
              <a:extLst>
                <a:ext uri="{FF2B5EF4-FFF2-40B4-BE49-F238E27FC236}">
                  <a16:creationId xmlns:a16="http://schemas.microsoft.com/office/drawing/2014/main" id="{9229CD5B-B0FB-4386-8A71-B426DB05803D}"/>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82" name="RectangleLegend5">
              <a:extLst>
                <a:ext uri="{FF2B5EF4-FFF2-40B4-BE49-F238E27FC236}">
                  <a16:creationId xmlns:a16="http://schemas.microsoft.com/office/drawing/2014/main" id="{EBBB8262-1858-4898-9E36-00D0CE90C681}"/>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83" name="Legend1">
              <a:extLst>
                <a:ext uri="{FF2B5EF4-FFF2-40B4-BE49-F238E27FC236}">
                  <a16:creationId xmlns:a16="http://schemas.microsoft.com/office/drawing/2014/main" id="{690BCB96-7AFD-491F-A0D7-8C9687DC0B8E}"/>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84" name="Legend2">
              <a:extLst>
                <a:ext uri="{FF2B5EF4-FFF2-40B4-BE49-F238E27FC236}">
                  <a16:creationId xmlns:a16="http://schemas.microsoft.com/office/drawing/2014/main" id="{6631EB21-9D00-4FBD-94AF-A25EAFEBB9CF}"/>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85" name="Legend3">
              <a:extLst>
                <a:ext uri="{FF2B5EF4-FFF2-40B4-BE49-F238E27FC236}">
                  <a16:creationId xmlns:a16="http://schemas.microsoft.com/office/drawing/2014/main" id="{46AC9C09-CF67-4EBE-B41B-1B4F52F66DEE}"/>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86" name="Legend4">
              <a:extLst>
                <a:ext uri="{FF2B5EF4-FFF2-40B4-BE49-F238E27FC236}">
                  <a16:creationId xmlns:a16="http://schemas.microsoft.com/office/drawing/2014/main" id="{AED040D5-B940-4CD6-AADF-D6523BA11478}"/>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87" name="Legend5">
              <a:extLst>
                <a:ext uri="{FF2B5EF4-FFF2-40B4-BE49-F238E27FC236}">
                  <a16:creationId xmlns:a16="http://schemas.microsoft.com/office/drawing/2014/main" id="{52D09B84-696F-4924-9269-DCE81E7805E6}"/>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88" name="LegendLines" hidden="1">
            <a:extLst>
              <a:ext uri="{FF2B5EF4-FFF2-40B4-BE49-F238E27FC236}">
                <a16:creationId xmlns:a16="http://schemas.microsoft.com/office/drawing/2014/main" id="{151703DE-CFCE-4548-825F-C0AE80B43A82}"/>
              </a:ext>
            </a:extLst>
          </p:cNvPr>
          <p:cNvGrpSpPr/>
          <p:nvPr userDrawn="1"/>
        </p:nvGrpSpPr>
        <p:grpSpPr>
          <a:xfrm>
            <a:off x="7601970" y="3209317"/>
            <a:ext cx="1125978" cy="927508"/>
            <a:chOff x="7495285" y="2250552"/>
            <a:chExt cx="1125978" cy="927508"/>
          </a:xfrm>
        </p:grpSpPr>
        <p:sp>
          <p:nvSpPr>
            <p:cNvPr id="189" name="Legend1">
              <a:extLst>
                <a:ext uri="{FF2B5EF4-FFF2-40B4-BE49-F238E27FC236}">
                  <a16:creationId xmlns:a16="http://schemas.microsoft.com/office/drawing/2014/main" id="{B11C0E3E-1598-4BDF-A6AD-638C23A0834B}"/>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90" name="Legend2">
              <a:extLst>
                <a:ext uri="{FF2B5EF4-FFF2-40B4-BE49-F238E27FC236}">
                  <a16:creationId xmlns:a16="http://schemas.microsoft.com/office/drawing/2014/main" id="{2649E328-C652-4C95-8812-29D30433774C}"/>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91" name="Legend3">
              <a:extLst>
                <a:ext uri="{FF2B5EF4-FFF2-40B4-BE49-F238E27FC236}">
                  <a16:creationId xmlns:a16="http://schemas.microsoft.com/office/drawing/2014/main" id="{C4CE84D4-139F-41DF-B0D0-885FDBBEC903}"/>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92" name="LineLegend3">
              <a:extLst>
                <a:ext uri="{FF2B5EF4-FFF2-40B4-BE49-F238E27FC236}">
                  <a16:creationId xmlns:a16="http://schemas.microsoft.com/office/drawing/2014/main" id="{47146DE1-2652-4995-8E31-5E4D0DF1299F}"/>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latin typeface="+mn-lt"/>
                <a:ea typeface="+mn-ea"/>
              </a:endParaRPr>
            </a:p>
          </p:txBody>
        </p:sp>
        <p:sp>
          <p:nvSpPr>
            <p:cNvPr id="193" name="LineLegend2">
              <a:extLst>
                <a:ext uri="{FF2B5EF4-FFF2-40B4-BE49-F238E27FC236}">
                  <a16:creationId xmlns:a16="http://schemas.microsoft.com/office/drawing/2014/main" id="{064840E9-E668-4FB9-8155-45041706FB60}"/>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latin typeface="+mn-lt"/>
                <a:ea typeface="+mn-ea"/>
              </a:endParaRPr>
            </a:p>
          </p:txBody>
        </p:sp>
        <p:sp>
          <p:nvSpPr>
            <p:cNvPr id="194" name="LineLegend1">
              <a:extLst>
                <a:ext uri="{FF2B5EF4-FFF2-40B4-BE49-F238E27FC236}">
                  <a16:creationId xmlns:a16="http://schemas.microsoft.com/office/drawing/2014/main" id="{9781F686-7F56-4F84-95A4-CE611F695364}"/>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latin typeface="+mn-lt"/>
                <a:ea typeface="+mn-ea"/>
              </a:endParaRPr>
            </a:p>
          </p:txBody>
        </p:sp>
      </p:grpSp>
      <p:grpSp>
        <p:nvGrpSpPr>
          <p:cNvPr id="195" name="LegendMoons" hidden="1">
            <a:extLst>
              <a:ext uri="{FF2B5EF4-FFF2-40B4-BE49-F238E27FC236}">
                <a16:creationId xmlns:a16="http://schemas.microsoft.com/office/drawing/2014/main" id="{76210C5F-BCAF-41E4-882C-D8F83DEBB10A}"/>
              </a:ext>
            </a:extLst>
          </p:cNvPr>
          <p:cNvGrpSpPr/>
          <p:nvPr userDrawn="1"/>
        </p:nvGrpSpPr>
        <p:grpSpPr>
          <a:xfrm>
            <a:off x="7865561" y="1289273"/>
            <a:ext cx="862387" cy="1731859"/>
            <a:chOff x="7723680" y="1702457"/>
            <a:chExt cx="862387" cy="1731859"/>
          </a:xfrm>
        </p:grpSpPr>
        <p:sp>
          <p:nvSpPr>
            <p:cNvPr id="196" name="Legend1">
              <a:extLst>
                <a:ext uri="{FF2B5EF4-FFF2-40B4-BE49-F238E27FC236}">
                  <a16:creationId xmlns:a16="http://schemas.microsoft.com/office/drawing/2014/main" id="{E69A0B3A-CBDC-43DC-B25C-92877F56162D}"/>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97" name="Legend2">
              <a:extLst>
                <a:ext uri="{FF2B5EF4-FFF2-40B4-BE49-F238E27FC236}">
                  <a16:creationId xmlns:a16="http://schemas.microsoft.com/office/drawing/2014/main" id="{BA11DA3E-0006-45D3-B28B-28A0D00149F6}"/>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98" name="Legend3">
              <a:extLst>
                <a:ext uri="{FF2B5EF4-FFF2-40B4-BE49-F238E27FC236}">
                  <a16:creationId xmlns:a16="http://schemas.microsoft.com/office/drawing/2014/main" id="{B849E806-DD0E-4BD7-8815-B8CF18C58A5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99" name="Legend4">
              <a:extLst>
                <a:ext uri="{FF2B5EF4-FFF2-40B4-BE49-F238E27FC236}">
                  <a16:creationId xmlns:a16="http://schemas.microsoft.com/office/drawing/2014/main" id="{C3FE2AB4-2647-482F-89E1-54234E787BF4}"/>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0" name="Legend5">
              <a:extLst>
                <a:ext uri="{FF2B5EF4-FFF2-40B4-BE49-F238E27FC236}">
                  <a16:creationId xmlns:a16="http://schemas.microsoft.com/office/drawing/2014/main" id="{52E11976-AAE5-431F-8148-629907683956}"/>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1" name="MoonLegend1">
              <a:extLst>
                <a:ext uri="{FF2B5EF4-FFF2-40B4-BE49-F238E27FC236}">
                  <a16:creationId xmlns:a16="http://schemas.microsoft.com/office/drawing/2014/main" id="{6A7F292C-CAF1-4B26-B85A-993CE5F5557B}"/>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14CE8F70-B2B3-46A2-A9FF-EA4DC1E97A9C}"/>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5" name="Arc 214">
                <a:extLst>
                  <a:ext uri="{FF2B5EF4-FFF2-40B4-BE49-F238E27FC236}">
                    <a16:creationId xmlns:a16="http://schemas.microsoft.com/office/drawing/2014/main" id="{DFF3186E-2B00-4CB3-A700-397F58BC947E}"/>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2" name="MoonLegend2">
              <a:extLst>
                <a:ext uri="{FF2B5EF4-FFF2-40B4-BE49-F238E27FC236}">
                  <a16:creationId xmlns:a16="http://schemas.microsoft.com/office/drawing/2014/main" id="{9BA1EC50-4DFE-4FA9-A23F-38CE89A6EB94}"/>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B6A12EC6-DFBC-4708-BA78-3045C5508A2C}"/>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3" name="Arc 212">
                <a:extLst>
                  <a:ext uri="{FF2B5EF4-FFF2-40B4-BE49-F238E27FC236}">
                    <a16:creationId xmlns:a16="http://schemas.microsoft.com/office/drawing/2014/main" id="{4C823BE3-1604-4447-8577-F7828E2CD78B}"/>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3" name="MoonLegend3">
              <a:extLst>
                <a:ext uri="{FF2B5EF4-FFF2-40B4-BE49-F238E27FC236}">
                  <a16:creationId xmlns:a16="http://schemas.microsoft.com/office/drawing/2014/main" id="{29FD19C6-DC25-4764-9BAD-ACE4E8B81D95}"/>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C56F2E8B-B601-400A-A04F-4B6F4F73E59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1" name="Arc 210">
                <a:extLst>
                  <a:ext uri="{FF2B5EF4-FFF2-40B4-BE49-F238E27FC236}">
                    <a16:creationId xmlns:a16="http://schemas.microsoft.com/office/drawing/2014/main" id="{40999996-F0D2-4392-B4ED-25A1D8C6EA45}"/>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4" name="MoonLegend4">
              <a:extLst>
                <a:ext uri="{FF2B5EF4-FFF2-40B4-BE49-F238E27FC236}">
                  <a16:creationId xmlns:a16="http://schemas.microsoft.com/office/drawing/2014/main" id="{5613CAE3-3C31-4661-8B8D-144C0AE7AFD8}"/>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3CE9C8AB-F5BC-4026-A579-844E168163D8}"/>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09" name="Arc 208">
                <a:extLst>
                  <a:ext uri="{FF2B5EF4-FFF2-40B4-BE49-F238E27FC236}">
                    <a16:creationId xmlns:a16="http://schemas.microsoft.com/office/drawing/2014/main" id="{DD658BB3-0D67-4F45-9C75-3217C6908B5D}"/>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5" name="MoonLegend5">
              <a:extLst>
                <a:ext uri="{FF2B5EF4-FFF2-40B4-BE49-F238E27FC236}">
                  <a16:creationId xmlns:a16="http://schemas.microsoft.com/office/drawing/2014/main" id="{1CB34E80-8876-4528-8658-81B4BF41FB53}"/>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B080E466-6273-41CA-8058-44982ED73801}"/>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07" name="Arc 206">
                <a:extLst>
                  <a:ext uri="{FF2B5EF4-FFF2-40B4-BE49-F238E27FC236}">
                    <a16:creationId xmlns:a16="http://schemas.microsoft.com/office/drawing/2014/main" id="{7C3F9581-221B-41E7-84E3-CCC248E9537D}"/>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0" r:id="rId12"/>
    <p:sldLayoutId id="2147483876" r:id="rId13"/>
    <p:sldLayoutId id="2147483878" r:id="rId14"/>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userDrawn="1">
          <p15:clr>
            <a:srgbClr val="5ACBF0"/>
          </p15:clr>
        </p15:guide>
        <p15:guide id="3" orient="horz" pos="3912" userDrawn="1">
          <p15:clr>
            <a:srgbClr val="5ACBF0"/>
          </p15:clr>
        </p15:guide>
        <p15:guide id="4" orient="horz" pos="1075" userDrawn="1">
          <p15:clr>
            <a:srgbClr val="F26B43"/>
          </p15:clr>
        </p15:guide>
        <p15:guide id="5" pos="5497" userDrawn="1">
          <p15:clr>
            <a:srgbClr val="F26B43"/>
          </p15:clr>
        </p15:guide>
        <p15:guide id="6" pos="259" userDrawn="1">
          <p15:clr>
            <a:srgbClr val="F26B43"/>
          </p15:clr>
        </p15:guide>
        <p15:guide id="8" orient="horz" pos="406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2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572" imgH="588" progId="TCLayout.ActiveDocument.1">
                  <p:embed/>
                </p:oleObj>
              </mc:Choice>
              <mc:Fallback>
                <p:oleObj name="think-cell Slide" r:id="rId42"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22"/>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3"/>
            </p:custDataLst>
          </p:nvPr>
        </p:nvSpPr>
        <p:spPr>
          <a:xfrm>
            <a:off x="416052" y="173736"/>
            <a:ext cx="8311896"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4"/>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5"/>
            </p:custDataLst>
          </p:nvPr>
        </p:nvSpPr>
        <p:spPr>
          <a:xfrm>
            <a:off x="415925" y="2133599"/>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15925" y="2155825"/>
            <a:ext cx="2168863" cy="143372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7892047" y="4396889"/>
            <a:ext cx="835901" cy="1686504"/>
            <a:chOff x="7756825" y="4379430"/>
            <a:chExt cx="835901"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7601970" y="3237562"/>
            <a:ext cx="1125978" cy="927508"/>
            <a:chOff x="7495285" y="2250552"/>
            <a:chExt cx="1125978"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7865561" y="1289273"/>
            <a:ext cx="862387" cy="1731859"/>
            <a:chOff x="7723680" y="1702457"/>
            <a:chExt cx="862387"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6"/>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
        <p:nvSpPr>
          <p:cNvPr id="6" name="SlideLogoText" hidden="1">
            <a:extLst>
              <a:ext uri="{FF2B5EF4-FFF2-40B4-BE49-F238E27FC236}">
                <a16:creationId xmlns:a16="http://schemas.microsoft.com/office/drawing/2014/main" id="{58FB3693-AC27-4699-841D-4547D247D81A}"/>
              </a:ext>
            </a:extLst>
          </p:cNvPr>
          <p:cNvSpPr txBox="1"/>
          <p:nvPr userDrawn="1"/>
        </p:nvSpPr>
        <p:spPr>
          <a:xfrm>
            <a:off x="7271296" y="6570762"/>
            <a:ext cx="65" cy="153888"/>
          </a:xfrm>
          <a:prstGeom prst="rect">
            <a:avLst/>
          </a:prstGeom>
          <a:ln w="6350">
            <a:noFill/>
            <a:miter lim="800000"/>
          </a:ln>
        </p:spPr>
        <p:txBody>
          <a:bodyPr vert="horz" wrap="none" lIns="0" tIns="0" rIns="0" bIns="0" rtlCol="0">
            <a:spAutoFit/>
          </a:bodyPr>
          <a:lstStyle/>
          <a:p>
            <a:pPr algn="l">
              <a:spcBef>
                <a:spcPts val="300"/>
              </a:spcBef>
              <a:spcAft>
                <a:spcPts val="300"/>
              </a:spcAft>
              <a:buNone/>
            </a:pPr>
            <a:endParaRPr lang="en-US" sz="1000" dirty="0">
              <a:solidFill>
                <a:schemeClr val="tx1"/>
              </a:solidFill>
            </a:endParaRPr>
          </a:p>
        </p:txBody>
      </p:sp>
    </p:spTree>
    <p:extLst>
      <p:ext uri="{BB962C8B-B14F-4D97-AF65-F5344CB8AC3E}">
        <p14:creationId xmlns:p14="http://schemas.microsoft.com/office/powerpoint/2010/main" val="246605627"/>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 id="2147483919" r:id="rId13"/>
    <p:sldLayoutId id="2147483920" r:id="rId14"/>
    <p:sldLayoutId id="2147483921" r:id="rId15"/>
    <p:sldLayoutId id="2147483922" r:id="rId16"/>
    <p:sldLayoutId id="2147483924" r:id="rId17"/>
    <p:sldLayoutId id="2147483925" r:id="rId18"/>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1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572" imgH="588" progId="TCLayout.ActiveDocument.1">
                  <p:embed/>
                </p:oleObj>
              </mc:Choice>
              <mc:Fallback>
                <p:oleObj name="think-cell Slide" r:id="rId37"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18"/>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19"/>
            </p:custDataLst>
          </p:nvPr>
        </p:nvSpPr>
        <p:spPr>
          <a:xfrm>
            <a:off x="416052" y="173736"/>
            <a:ext cx="8311896"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0"/>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1"/>
            </p:custDataLst>
          </p:nvPr>
        </p:nvSpPr>
        <p:spPr>
          <a:xfrm>
            <a:off x="415925" y="2133599"/>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15925" y="2155825"/>
            <a:ext cx="2168863" cy="143372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7892047" y="4396889"/>
            <a:ext cx="835901" cy="1686504"/>
            <a:chOff x="7756825" y="4379430"/>
            <a:chExt cx="835901"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7601970" y="3237562"/>
            <a:ext cx="1125978" cy="927508"/>
            <a:chOff x="7495285" y="2250552"/>
            <a:chExt cx="1125978"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7865561" y="1289273"/>
            <a:ext cx="862387" cy="1731859"/>
            <a:chOff x="7723680" y="1702457"/>
            <a:chExt cx="862387"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Tree>
    <p:extLst>
      <p:ext uri="{BB962C8B-B14F-4D97-AF65-F5344CB8AC3E}">
        <p14:creationId xmlns:p14="http://schemas.microsoft.com/office/powerpoint/2010/main" val="1122304244"/>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19"/>
            </p:custDataLst>
            <p:extLst>
              <p:ext uri="{D42A27DB-BD31-4B8C-83A1-F6EECF244321}">
                <p14:modId xmlns:p14="http://schemas.microsoft.com/office/powerpoint/2010/main" val="350908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572" imgH="588" progId="TCLayout.ActiveDocument.1">
                  <p:embed/>
                </p:oleObj>
              </mc:Choice>
              <mc:Fallback>
                <p:oleObj name="think-cell Slide" r:id="rId41"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21"/>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2"/>
            </p:custDataLst>
          </p:nvPr>
        </p:nvSpPr>
        <p:spPr>
          <a:xfrm>
            <a:off x="416052" y="173736"/>
            <a:ext cx="8311896"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3"/>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4"/>
            </p:custDataLst>
          </p:nvPr>
        </p:nvSpPr>
        <p:spPr>
          <a:xfrm>
            <a:off x="415925" y="2133599"/>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15925" y="2155825"/>
            <a:ext cx="2168863" cy="143372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7892047" y="4396889"/>
            <a:ext cx="835901" cy="1686504"/>
            <a:chOff x="7756825" y="4379430"/>
            <a:chExt cx="835901"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7601970" y="3237562"/>
            <a:ext cx="1125978" cy="927508"/>
            <a:chOff x="7495285" y="2250552"/>
            <a:chExt cx="1125978"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7865561" y="1289273"/>
            <a:ext cx="862387" cy="1731859"/>
            <a:chOff x="7723680" y="1702457"/>
            <a:chExt cx="862387"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5"/>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
        <p:nvSpPr>
          <p:cNvPr id="6" name="SlideLogoText" hidden="1">
            <a:extLst>
              <a:ext uri="{FF2B5EF4-FFF2-40B4-BE49-F238E27FC236}">
                <a16:creationId xmlns:a16="http://schemas.microsoft.com/office/drawing/2014/main" id="{58FB3693-AC27-4699-841D-4547D247D81A}"/>
              </a:ext>
            </a:extLst>
          </p:cNvPr>
          <p:cNvSpPr txBox="1"/>
          <p:nvPr userDrawn="1"/>
        </p:nvSpPr>
        <p:spPr>
          <a:xfrm>
            <a:off x="7271296" y="6570762"/>
            <a:ext cx="65" cy="153888"/>
          </a:xfrm>
          <a:prstGeom prst="rect">
            <a:avLst/>
          </a:prstGeom>
          <a:ln w="6350">
            <a:noFill/>
            <a:miter lim="800000"/>
          </a:ln>
        </p:spPr>
        <p:txBody>
          <a:bodyPr vert="horz" wrap="none" lIns="0" tIns="0" rIns="0" bIns="0" rtlCol="0">
            <a:spAutoFit/>
          </a:bodyPr>
          <a:lstStyle/>
          <a:p>
            <a:pPr algn="l">
              <a:spcBef>
                <a:spcPts val="300"/>
              </a:spcBef>
              <a:spcAft>
                <a:spcPts val="300"/>
              </a:spcAft>
              <a:buNone/>
            </a:pPr>
            <a:endParaRPr lang="en-US" sz="1000" dirty="0">
              <a:solidFill>
                <a:schemeClr val="tx1"/>
              </a:solidFill>
            </a:endParaRPr>
          </a:p>
        </p:txBody>
      </p:sp>
    </p:spTree>
    <p:extLst>
      <p:ext uri="{BB962C8B-B14F-4D97-AF65-F5344CB8AC3E}">
        <p14:creationId xmlns:p14="http://schemas.microsoft.com/office/powerpoint/2010/main" val="418648673"/>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 id="2147483992" r:id="rId11"/>
    <p:sldLayoutId id="2147483993" r:id="rId12"/>
    <p:sldLayoutId id="2147483994" r:id="rId13"/>
    <p:sldLayoutId id="2147483995" r:id="rId14"/>
    <p:sldLayoutId id="2147483996" r:id="rId15"/>
    <p:sldLayoutId id="2147483997" r:id="rId16"/>
    <p:sldLayoutId id="2147483998" r:id="rId17"/>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16"/>
            </p:custDataLst>
            <p:extLst>
              <p:ext uri="{D42A27DB-BD31-4B8C-83A1-F6EECF244321}">
                <p14:modId xmlns:p14="http://schemas.microsoft.com/office/powerpoint/2010/main" val="3662179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572" imgH="588" progId="TCLayout.ActiveDocument.1">
                  <p:embed/>
                </p:oleObj>
              </mc:Choice>
              <mc:Fallback>
                <p:oleObj name="think-cell Slide" r:id="rId37"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18"/>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19"/>
            </p:custDataLst>
          </p:nvPr>
        </p:nvSpPr>
        <p:spPr>
          <a:xfrm>
            <a:off x="416052" y="173736"/>
            <a:ext cx="8311896"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0"/>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1"/>
            </p:custDataLst>
          </p:nvPr>
        </p:nvSpPr>
        <p:spPr>
          <a:xfrm>
            <a:off x="415925" y="2133599"/>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15925" y="2155825"/>
            <a:ext cx="2168863" cy="143372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7892047" y="4396889"/>
            <a:ext cx="835901" cy="1686504"/>
            <a:chOff x="7756825" y="4379430"/>
            <a:chExt cx="835901"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7601970" y="3237562"/>
            <a:ext cx="1125978" cy="927508"/>
            <a:chOff x="7495285" y="2250552"/>
            <a:chExt cx="1125978"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7865561" y="1289273"/>
            <a:ext cx="862387" cy="1731859"/>
            <a:chOff x="7723680" y="1702457"/>
            <a:chExt cx="862387"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Tree>
    <p:extLst>
      <p:ext uri="{BB962C8B-B14F-4D97-AF65-F5344CB8AC3E}">
        <p14:creationId xmlns:p14="http://schemas.microsoft.com/office/powerpoint/2010/main" val="2297826677"/>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 id="2147484013" r:id="rId6"/>
    <p:sldLayoutId id="2147484014" r:id="rId7"/>
    <p:sldLayoutId id="2147484015" r:id="rId8"/>
    <p:sldLayoutId id="2147484016" r:id="rId9"/>
    <p:sldLayoutId id="2147484017" r:id="rId10"/>
    <p:sldLayoutId id="2147484018" r:id="rId11"/>
    <p:sldLayoutId id="2147484019" r:id="rId12"/>
    <p:sldLayoutId id="2147484020" r:id="rId13"/>
    <p:sldLayoutId id="2147484021" r:id="rId14"/>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17"/>
            </p:custDataLst>
            <p:extLst>
              <p:ext uri="{D42A27DB-BD31-4B8C-83A1-F6EECF244321}">
                <p14:modId xmlns:p14="http://schemas.microsoft.com/office/powerpoint/2010/main" val="1008111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572" imgH="588" progId="TCLayout.ActiveDocument.1">
                  <p:embed/>
                </p:oleObj>
              </mc:Choice>
              <mc:Fallback>
                <p:oleObj name="think-cell Slide" r:id="rId39" imgW="572" imgH="588" progId="TCLayout.ActiveDocument.1">
                  <p:embed/>
                  <p:pic>
                    <p:nvPicPr>
                      <p:cNvPr id="5" name="Object 2" hidden="1">
                        <a:extLst>
                          <a:ext uri="{FF2B5EF4-FFF2-40B4-BE49-F238E27FC236}">
                            <a16:creationId xmlns:a16="http://schemas.microsoft.com/office/drawing/2014/main" id="{8963AA3D-EFA3-4938-9D41-C8DDC03F7827}"/>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19"/>
            </p:custDataLst>
          </p:nvPr>
        </p:nvSpPr>
        <p:spPr>
          <a:xfrm>
            <a:off x="411480" y="6274554"/>
            <a:ext cx="8311896"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0"/>
            </p:custDataLst>
          </p:nvPr>
        </p:nvSpPr>
        <p:spPr>
          <a:xfrm>
            <a:off x="416052" y="173736"/>
            <a:ext cx="8311896"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1"/>
            </p:custDataLst>
          </p:nvPr>
        </p:nvGrpSpPr>
        <p:grpSpPr bwMode="blackGray">
          <a:xfrm>
            <a:off x="1" y="0"/>
            <a:ext cx="9142857"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dirty="0">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dirty="0">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dirty="0">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416052" y="834828"/>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2"/>
            </p:custDataLst>
          </p:nvPr>
        </p:nvSpPr>
        <p:spPr>
          <a:xfrm>
            <a:off x="415925" y="2133599"/>
            <a:ext cx="3049253"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415925" y="2155825"/>
            <a:ext cx="2168863" cy="143372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7892047" y="4396889"/>
            <a:ext cx="835901" cy="1686504"/>
            <a:chOff x="7756825" y="4379430"/>
            <a:chExt cx="835901"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7601970" y="3237562"/>
            <a:ext cx="1125978" cy="927508"/>
            <a:chOff x="7495285" y="2250552"/>
            <a:chExt cx="1125978"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7865561" y="1289273"/>
            <a:ext cx="862387" cy="1731859"/>
            <a:chOff x="7723680" y="1702457"/>
            <a:chExt cx="862387"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509755"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dirty="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3"/>
            </p:custDataLst>
          </p:nvPr>
        </p:nvSpPr>
        <p:spPr>
          <a:xfrm>
            <a:off x="412114" y="6419762"/>
            <a:ext cx="2871621"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
        <p:nvSpPr>
          <p:cNvPr id="6" name="SlideLogoText" hidden="1">
            <a:extLst>
              <a:ext uri="{FF2B5EF4-FFF2-40B4-BE49-F238E27FC236}">
                <a16:creationId xmlns:a16="http://schemas.microsoft.com/office/drawing/2014/main" id="{58FB3693-AC27-4699-841D-4547D247D81A}"/>
              </a:ext>
            </a:extLst>
          </p:cNvPr>
          <p:cNvSpPr txBox="1"/>
          <p:nvPr userDrawn="1"/>
        </p:nvSpPr>
        <p:spPr>
          <a:xfrm>
            <a:off x="7271296" y="6570762"/>
            <a:ext cx="65" cy="153888"/>
          </a:xfrm>
          <a:prstGeom prst="rect">
            <a:avLst/>
          </a:prstGeom>
          <a:ln w="6350">
            <a:noFill/>
            <a:miter lim="800000"/>
          </a:ln>
        </p:spPr>
        <p:txBody>
          <a:bodyPr vert="horz" wrap="none" lIns="0" tIns="0" rIns="0" bIns="0" rtlCol="0">
            <a:spAutoFit/>
          </a:bodyPr>
          <a:lstStyle/>
          <a:p>
            <a:pPr algn="l">
              <a:spcBef>
                <a:spcPts val="300"/>
              </a:spcBef>
              <a:spcAft>
                <a:spcPts val="300"/>
              </a:spcAft>
              <a:buNone/>
            </a:pPr>
            <a:endParaRPr lang="en-US" sz="1000" dirty="0">
              <a:solidFill>
                <a:schemeClr val="tx1"/>
              </a:solidFill>
            </a:endParaRPr>
          </a:p>
        </p:txBody>
      </p:sp>
    </p:spTree>
    <p:extLst>
      <p:ext uri="{BB962C8B-B14F-4D97-AF65-F5344CB8AC3E}">
        <p14:creationId xmlns:p14="http://schemas.microsoft.com/office/powerpoint/2010/main" val="1112310913"/>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880.xml"/><Relationship Id="rId7" Type="http://schemas.openxmlformats.org/officeDocument/2006/relationships/image" Target="../media/image6.emf"/><Relationship Id="rId2" Type="http://schemas.openxmlformats.org/officeDocument/2006/relationships/tags" Target="../tags/tag879.xml"/><Relationship Id="rId1" Type="http://schemas.openxmlformats.org/officeDocument/2006/relationships/tags" Target="../tags/tag878.xml"/><Relationship Id="rId6" Type="http://schemas.openxmlformats.org/officeDocument/2006/relationships/oleObject" Target="../embeddings/oleObject112.bin"/><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tags" Target="../tags/tag883.xml"/><Relationship Id="rId7" Type="http://schemas.openxmlformats.org/officeDocument/2006/relationships/image" Target="../media/image6.emf"/><Relationship Id="rId2" Type="http://schemas.openxmlformats.org/officeDocument/2006/relationships/tags" Target="../tags/tag882.xml"/><Relationship Id="rId1" Type="http://schemas.openxmlformats.org/officeDocument/2006/relationships/tags" Target="../tags/tag881.xml"/><Relationship Id="rId6" Type="http://schemas.openxmlformats.org/officeDocument/2006/relationships/oleObject" Target="../embeddings/oleObject113.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886.xml"/><Relationship Id="rId7" Type="http://schemas.openxmlformats.org/officeDocument/2006/relationships/image" Target="../media/image6.emf"/><Relationship Id="rId2" Type="http://schemas.openxmlformats.org/officeDocument/2006/relationships/tags" Target="../tags/tag885.xml"/><Relationship Id="rId1" Type="http://schemas.openxmlformats.org/officeDocument/2006/relationships/tags" Target="../tags/tag884.xml"/><Relationship Id="rId6" Type="http://schemas.openxmlformats.org/officeDocument/2006/relationships/oleObject" Target="../embeddings/oleObject114.bin"/><Relationship Id="rId5" Type="http://schemas.openxmlformats.org/officeDocument/2006/relationships/notesSlide" Target="../notesSlides/notesSlide3.xml"/><Relationship Id="rId4" Type="http://schemas.openxmlformats.org/officeDocument/2006/relationships/slideLayout" Target="../slideLayouts/slideLayout3.xml"/><Relationship Id="rId9" Type="http://schemas.openxmlformats.org/officeDocument/2006/relationships/chart" Target="../charts/chart2.xml"/></Relationships>
</file>

<file path=ppt/slides/_rels/slide4.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889.xml"/><Relationship Id="rId7" Type="http://schemas.openxmlformats.org/officeDocument/2006/relationships/image" Target="../media/image6.emf"/><Relationship Id="rId2" Type="http://schemas.openxmlformats.org/officeDocument/2006/relationships/tags" Target="../tags/tag888.xml"/><Relationship Id="rId1" Type="http://schemas.openxmlformats.org/officeDocument/2006/relationships/tags" Target="../tags/tag887.xml"/><Relationship Id="rId6" Type="http://schemas.openxmlformats.org/officeDocument/2006/relationships/oleObject" Target="../embeddings/oleObject115.bin"/><Relationship Id="rId5" Type="http://schemas.openxmlformats.org/officeDocument/2006/relationships/notesSlide" Target="../notesSlides/notesSlide4.xml"/><Relationship Id="rId4" Type="http://schemas.openxmlformats.org/officeDocument/2006/relationships/slideLayout" Target="../slideLayouts/slideLayout3.xml"/><Relationship Id="rId9"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D3852954-53CB-437D-9ABC-B8037C0C65F8}"/>
              </a:ext>
            </a:extLst>
          </p:cNvPr>
          <p:cNvGraphicFramePr>
            <a:graphicFrameLocks noChangeAspect="1"/>
          </p:cNvGraphicFramePr>
          <p:nvPr>
            <p:custDataLst>
              <p:tags r:id="rId1"/>
            </p:custDataLst>
            <p:extLst>
              <p:ext uri="{D42A27DB-BD31-4B8C-83A1-F6EECF244321}">
                <p14:modId xmlns:p14="http://schemas.microsoft.com/office/powerpoint/2010/main" val="2025614414"/>
              </p:ext>
            </p:extLst>
          </p:nvPr>
        </p:nvGraphicFramePr>
        <p:xfrm>
          <a:off x="1486" y="858580"/>
          <a:ext cx="1214" cy="1214"/>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18" name="Object 17" hidden="1">
                        <a:extLst>
                          <a:ext uri="{FF2B5EF4-FFF2-40B4-BE49-F238E27FC236}">
                            <a16:creationId xmlns:a16="http://schemas.microsoft.com/office/drawing/2014/main" id="{D3852954-53CB-437D-9ABC-B8037C0C65F8}"/>
                          </a:ext>
                        </a:extLst>
                      </p:cNvPr>
                      <p:cNvPicPr/>
                      <p:nvPr/>
                    </p:nvPicPr>
                    <p:blipFill>
                      <a:blip r:embed="rId7"/>
                      <a:stretch>
                        <a:fillRect/>
                      </a:stretch>
                    </p:blipFill>
                    <p:spPr>
                      <a:xfrm>
                        <a:off x="1486" y="858580"/>
                        <a:ext cx="1214" cy="1214"/>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155BE234-10F7-4CE6-96BD-6AE8DFCE085D}"/>
              </a:ext>
            </a:extLst>
          </p:cNvPr>
          <p:cNvSpPr/>
          <p:nvPr>
            <p:custDataLst>
              <p:tags r:id="rId2"/>
            </p:custDataLst>
          </p:nvPr>
        </p:nvSpPr>
        <p:spPr>
          <a:xfrm>
            <a:off x="271" y="857365"/>
            <a:ext cx="121475" cy="12147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srgbClr val="000000"/>
              </a:solidFill>
              <a:effectLst/>
              <a:uLnTx/>
              <a:uFillTx/>
              <a:latin typeface="Arial"/>
              <a:ea typeface="+mn-ea"/>
              <a:cs typeface="Arial" panose="020B0604020202020204" pitchFamily="34" charset="0"/>
              <a:sym typeface="+mn-lt"/>
            </a:endParaRPr>
          </a:p>
        </p:txBody>
      </p:sp>
      <p:sp>
        <p:nvSpPr>
          <p:cNvPr id="27" name="2. Slide Title">
            <a:extLst>
              <a:ext uri="{FF2B5EF4-FFF2-40B4-BE49-F238E27FC236}">
                <a16:creationId xmlns:a16="http://schemas.microsoft.com/office/drawing/2014/main" id="{DB3FF784-AD93-4005-BFCD-09C0D4CFADF8}"/>
              </a:ext>
            </a:extLst>
          </p:cNvPr>
          <p:cNvSpPr>
            <a:spLocks noGrp="1"/>
          </p:cNvSpPr>
          <p:nvPr>
            <p:ph type="title"/>
            <p:custDataLst>
              <p:tags r:id="rId3"/>
            </p:custDataLst>
          </p:nvPr>
        </p:nvSpPr>
        <p:spPr>
          <a:xfrm>
            <a:off x="355548" y="173736"/>
            <a:ext cx="8311896" cy="33855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CA" dirty="0"/>
              <a:t>Wastewater Surveillance: Overview Part 1</a:t>
            </a:r>
          </a:p>
        </p:txBody>
      </p:sp>
      <p:cxnSp>
        <p:nvCxnSpPr>
          <p:cNvPr id="5" name="Do not remove">
            <a:extLst>
              <a:ext uri="{FF2B5EF4-FFF2-40B4-BE49-F238E27FC236}">
                <a16:creationId xmlns:a16="http://schemas.microsoft.com/office/drawing/2014/main" id="{74411D5F-C3E8-45E8-9B26-29FB4505F0A1}"/>
              </a:ext>
            </a:extLst>
          </p:cNvPr>
          <p:cNvCxnSpPr/>
          <p:nvPr/>
        </p:nvCxnSpPr>
        <p:spPr>
          <a:xfrm>
            <a:off x="749756" y="-1432699"/>
            <a:ext cx="1089465"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FE302193-CD1D-4471-8F48-B966389B8A6E}"/>
              </a:ext>
            </a:extLst>
          </p:cNvPr>
          <p:cNvSpPr txBox="1"/>
          <p:nvPr/>
        </p:nvSpPr>
        <p:spPr>
          <a:xfrm>
            <a:off x="416052" y="6466411"/>
            <a:ext cx="8245870" cy="161583"/>
          </a:xfrm>
          <a:prstGeom prst="rect">
            <a:avLst/>
          </a:prstGeom>
        </p:spPr>
        <p:txBody>
          <a:bodyPr vert="horz" wrap="square" lIns="0" tIns="0" rIns="0" bIns="0" rtlCol="0">
            <a:spAutoFit/>
          </a:bodyPr>
          <a:lstStyle>
            <a:lvl1pPr lvl="0" indent="0" defTabSz="685783">
              <a:lnSpc>
                <a:spcPct val="100000"/>
              </a:lnSpc>
              <a:spcBef>
                <a:spcPts val="300"/>
              </a:spcBef>
              <a:spcAft>
                <a:spcPts val="300"/>
              </a:spcAft>
              <a:buFont typeface="Segoe UI" panose="020B0502040204020203" pitchFamily="34" charset="0"/>
              <a:buChar char="​"/>
              <a:defRPr lang="en-US" sz="1400" dirty="0">
                <a:cs typeface="Arial" panose="020B0604020202020204" pitchFamily="34" charset="0"/>
              </a:defRPr>
            </a:lvl1pPr>
            <a:lvl2pPr marL="228600" lvl="1" indent="-225425" defTabSz="685783">
              <a:lnSpc>
                <a:spcPct val="100000"/>
              </a:lnSpc>
              <a:spcBef>
                <a:spcPts val="0"/>
              </a:spcBef>
              <a:spcAft>
                <a:spcPts val="300"/>
              </a:spcAft>
              <a:buClr>
                <a:srgbClr val="000000"/>
              </a:buClr>
              <a:buSzPct val="110000"/>
              <a:buFont typeface="Wingdings" panose="05000000000000000000" pitchFamily="2" charset="2"/>
              <a:buChar char=""/>
              <a:defRPr lang="en-US" sz="1400" dirty="0">
                <a:cs typeface="Arial" panose="020B0604020202020204" pitchFamily="34" charset="0"/>
              </a:defRPr>
            </a:lvl2pPr>
            <a:lvl3pPr marL="442913" lvl="2" indent="-214313" defTabSz="685783">
              <a:lnSpc>
                <a:spcPct val="100000"/>
              </a:lnSpc>
              <a:spcBef>
                <a:spcPts val="0"/>
              </a:spcBef>
              <a:spcAft>
                <a:spcPts val="300"/>
              </a:spcAft>
              <a:buClr>
                <a:srgbClr val="000000"/>
              </a:buClr>
              <a:buSzPct val="110000"/>
              <a:buFont typeface="Arial" panose="020B0604020202020204" pitchFamily="34" charset="0"/>
              <a:buChar char="‒"/>
              <a:defRPr lang="en-US" sz="1400" dirty="0">
                <a:cs typeface="Arial" panose="020B0604020202020204" pitchFamily="34" charset="0"/>
              </a:defRPr>
            </a:lvl3pPr>
            <a:lvl4pPr marL="598488" lvl="3" indent="-152400"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4pPr>
            <a:lvl5pPr marL="817563" lvl="4" indent="-147638" defTabSz="685783">
              <a:lnSpc>
                <a:spcPct val="100000"/>
              </a:lnSpc>
              <a:spcBef>
                <a:spcPts val="0"/>
              </a:spcBef>
              <a:spcAft>
                <a:spcPts val="225"/>
              </a:spcAft>
              <a:buClr>
                <a:srgbClr val="000000"/>
              </a:buClr>
              <a:buSzPct val="100000"/>
              <a:buFont typeface="Arial" panose="020B0604020202020204" pitchFamily="34" charset="0"/>
              <a:buChar char="̶"/>
              <a:defRPr lang="en-US" sz="1400" dirty="0">
                <a:cs typeface="Arial" panose="020B0604020202020204" pitchFamily="34" charset="0"/>
              </a:defRPr>
            </a:lvl5pPr>
            <a:lvl6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6pPr>
            <a:lvl7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7pPr>
            <a:lvl8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8pPr>
            <a:lvl9pPr marL="859536" indent="-128585" defTabSz="685783">
              <a:lnSpc>
                <a:spcPct val="100000"/>
              </a:lnSpc>
              <a:spcBef>
                <a:spcPts val="0"/>
              </a:spcBef>
              <a:spcAft>
                <a:spcPts val="225"/>
              </a:spcAft>
              <a:buSzPct val="100000"/>
              <a:buFont typeface="Arial" panose="020B0604020202020204" pitchFamily="34" charset="0"/>
              <a:buChar char="▫"/>
              <a:defRPr lang="en-US" sz="1400" dirty="0">
                <a:cs typeface="Arial" panose="020B0604020202020204" pitchFamily="34" charset="0"/>
              </a:defRPr>
            </a:lvl9pPr>
          </a:lstStyle>
          <a:p>
            <a:r>
              <a:rPr lang="en-US" sz="1050" b="1" dirty="0"/>
              <a:t>Source: </a:t>
            </a:r>
            <a:r>
              <a:rPr lang="en-US" sz="1050" dirty="0"/>
              <a:t>CDC (https://www.cdc.gov/healthywater/surveillance/wastewater-surveillance/public-health-interpretation.html)</a:t>
            </a:r>
          </a:p>
        </p:txBody>
      </p:sp>
      <p:sp>
        <p:nvSpPr>
          <p:cNvPr id="19" name="TextBox 18">
            <a:extLst>
              <a:ext uri="{FF2B5EF4-FFF2-40B4-BE49-F238E27FC236}">
                <a16:creationId xmlns:a16="http://schemas.microsoft.com/office/drawing/2014/main" id="{EAA2FB50-B931-4C7B-8A09-4BE4A62B5796}"/>
              </a:ext>
            </a:extLst>
          </p:cNvPr>
          <p:cNvSpPr txBox="1"/>
          <p:nvPr/>
        </p:nvSpPr>
        <p:spPr>
          <a:xfrm>
            <a:off x="305308" y="533674"/>
            <a:ext cx="8718112" cy="4431983"/>
          </a:xfrm>
          <a:prstGeom prst="rect">
            <a:avLst/>
          </a:prstGeom>
          <a:noFill/>
          <a:ln w="6350">
            <a:noFill/>
            <a:miter lim="800000"/>
          </a:ln>
        </p:spPr>
        <p:txBody>
          <a:bodyPr wrap="square">
            <a:spAutoFit/>
          </a:bodyPr>
          <a:lstStyle/>
          <a:p>
            <a:r>
              <a:rPr lang="en-US" sz="1400" b="1" dirty="0">
                <a:solidFill>
                  <a:schemeClr val="tx2"/>
                </a:solidFill>
                <a:latin typeface="+mj-lt"/>
              </a:rPr>
              <a:t>What is wastewater surveillance? </a:t>
            </a:r>
          </a:p>
          <a:p>
            <a:r>
              <a:rPr lang="en-US" sz="1400" dirty="0">
                <a:latin typeface="+mj-lt"/>
              </a:rPr>
              <a:t>Wastewater surveillance is one method used to monitor the amount of SARS-CoV-2 in an area. In Massachusetts, the Department of Public Health collects SARS-CoV-2 data from more than 20 Wastewater Treatment Plants (WWTPs). </a:t>
            </a:r>
          </a:p>
          <a:p>
            <a:endParaRPr lang="en-US" sz="1400" dirty="0">
              <a:latin typeface="+mj-lt"/>
            </a:endParaRPr>
          </a:p>
          <a:p>
            <a:r>
              <a:rPr lang="en-US" sz="1400" b="1" dirty="0">
                <a:solidFill>
                  <a:schemeClr val="tx2"/>
                </a:solidFill>
                <a:latin typeface="+mj-lt"/>
              </a:rPr>
              <a:t>How does wastewater surveillance work? </a:t>
            </a:r>
          </a:p>
          <a:p>
            <a:r>
              <a:rPr lang="en-US" sz="1400" dirty="0">
                <a:latin typeface="+mj-lt"/>
              </a:rPr>
              <a:t>When a person has COVID-19, the SARS-CoV-2 virus is shed in their stool. A community’s collective wastewater flows to a wastewater treatment plant, where samples are taken and sent to a laboratory for SARS-CoV-2 testing. </a:t>
            </a:r>
          </a:p>
          <a:p>
            <a:endParaRPr lang="en-US" sz="1400" b="1" dirty="0">
              <a:latin typeface="+mj-lt"/>
            </a:endParaRPr>
          </a:p>
          <a:p>
            <a:r>
              <a:rPr lang="en-US" sz="1400" b="1" dirty="0">
                <a:solidFill>
                  <a:schemeClr val="tx2"/>
                </a:solidFill>
                <a:latin typeface="+mj-lt"/>
              </a:rPr>
              <a:t>What does wastewater surveillance data show? </a:t>
            </a:r>
          </a:p>
          <a:p>
            <a:r>
              <a:rPr lang="en-US" sz="1400" dirty="0">
                <a:solidFill>
                  <a:srgbClr val="000000"/>
                </a:solidFill>
                <a:latin typeface="+mj-lt"/>
              </a:rPr>
              <a:t>Wastewater data can also help us track trends in the number of people that have COVID-19 in a community. The amount of virus that a person has in their stool and the length of time that they have virus in their stool varies. Because of this, t</a:t>
            </a:r>
            <a:r>
              <a:rPr lang="en-US" sz="1400" b="0" i="0" dirty="0">
                <a:solidFill>
                  <a:srgbClr val="000000"/>
                </a:solidFill>
                <a:effectLst/>
                <a:latin typeface="+mj-lt"/>
              </a:rPr>
              <a:t>he amount of virus measured in wastewater does not tell us total number of cases in the area and does not tell us the amount of increase or decrease in cases in communities. However, if the amount of virus in wastewater increases or decreases over several time points, that information shows that cases are either increasing or decreasing in the community. Importantly, wastewater data can provide an early warning about increasing cases since virus will show up in wastewater several days, maybe even a week, before positive test numbers start to increase.</a:t>
            </a:r>
            <a:endParaRPr lang="en-US" sz="1600" dirty="0">
              <a:latin typeface="+mj-lt"/>
            </a:endParaRPr>
          </a:p>
          <a:p>
            <a:endParaRPr lang="en-US" sz="1400" dirty="0">
              <a:latin typeface="+mj-lt"/>
            </a:endParaRPr>
          </a:p>
        </p:txBody>
      </p:sp>
      <p:sp>
        <p:nvSpPr>
          <p:cNvPr id="3" name="Rectangle 2">
            <a:extLst>
              <a:ext uri="{FF2B5EF4-FFF2-40B4-BE49-F238E27FC236}">
                <a16:creationId xmlns:a16="http://schemas.microsoft.com/office/drawing/2014/main" id="{D6312246-8082-4254-5C24-F56AC4AB793D}"/>
              </a:ext>
            </a:extLst>
          </p:cNvPr>
          <p:cNvSpPr/>
          <p:nvPr/>
        </p:nvSpPr>
        <p:spPr>
          <a:xfrm>
            <a:off x="355548" y="6627994"/>
            <a:ext cx="2046008" cy="230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32812280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D3852954-53CB-437D-9ABC-B8037C0C65F8}"/>
              </a:ext>
            </a:extLst>
          </p:cNvPr>
          <p:cNvGraphicFramePr>
            <a:graphicFrameLocks noChangeAspect="1"/>
          </p:cNvGraphicFramePr>
          <p:nvPr>
            <p:custDataLst>
              <p:tags r:id="rId1"/>
            </p:custDataLst>
          </p:nvPr>
        </p:nvGraphicFramePr>
        <p:xfrm>
          <a:off x="1486" y="858580"/>
          <a:ext cx="1214" cy="1214"/>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18" name="Object 17" hidden="1">
                        <a:extLst>
                          <a:ext uri="{FF2B5EF4-FFF2-40B4-BE49-F238E27FC236}">
                            <a16:creationId xmlns:a16="http://schemas.microsoft.com/office/drawing/2014/main" id="{D3852954-53CB-437D-9ABC-B8037C0C65F8}"/>
                          </a:ext>
                        </a:extLst>
                      </p:cNvPr>
                      <p:cNvPicPr/>
                      <p:nvPr/>
                    </p:nvPicPr>
                    <p:blipFill>
                      <a:blip r:embed="rId7"/>
                      <a:stretch>
                        <a:fillRect/>
                      </a:stretch>
                    </p:blipFill>
                    <p:spPr>
                      <a:xfrm>
                        <a:off x="1486" y="858580"/>
                        <a:ext cx="1214" cy="1214"/>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155BE234-10F7-4CE6-96BD-6AE8DFCE085D}"/>
              </a:ext>
            </a:extLst>
          </p:cNvPr>
          <p:cNvSpPr/>
          <p:nvPr>
            <p:custDataLst>
              <p:tags r:id="rId2"/>
            </p:custDataLst>
          </p:nvPr>
        </p:nvSpPr>
        <p:spPr>
          <a:xfrm>
            <a:off x="271" y="857365"/>
            <a:ext cx="121475" cy="12147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srgbClr val="000000"/>
              </a:solidFill>
              <a:effectLst/>
              <a:uLnTx/>
              <a:uFillTx/>
              <a:latin typeface="Arial"/>
              <a:ea typeface="+mn-ea"/>
              <a:cs typeface="Arial" panose="020B0604020202020204" pitchFamily="34" charset="0"/>
              <a:sym typeface="+mn-lt"/>
            </a:endParaRPr>
          </a:p>
        </p:txBody>
      </p:sp>
      <p:sp>
        <p:nvSpPr>
          <p:cNvPr id="27" name="2. Slide Title">
            <a:extLst>
              <a:ext uri="{FF2B5EF4-FFF2-40B4-BE49-F238E27FC236}">
                <a16:creationId xmlns:a16="http://schemas.microsoft.com/office/drawing/2014/main" id="{DB3FF784-AD93-4005-BFCD-09C0D4CFADF8}"/>
              </a:ext>
            </a:extLst>
          </p:cNvPr>
          <p:cNvSpPr>
            <a:spLocks noGrp="1"/>
          </p:cNvSpPr>
          <p:nvPr>
            <p:ph type="title"/>
            <p:custDataLst>
              <p:tags r:id="rId3"/>
            </p:custDataLst>
          </p:nvPr>
        </p:nvSpPr>
        <p:spPr>
          <a:xfrm>
            <a:off x="416052" y="173736"/>
            <a:ext cx="8311896" cy="33855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CA" dirty="0"/>
              <a:t>Wastewater Surveillance: Overview Part 2</a:t>
            </a:r>
          </a:p>
        </p:txBody>
      </p:sp>
      <p:cxnSp>
        <p:nvCxnSpPr>
          <p:cNvPr id="5" name="Do not remove">
            <a:extLst>
              <a:ext uri="{FF2B5EF4-FFF2-40B4-BE49-F238E27FC236}">
                <a16:creationId xmlns:a16="http://schemas.microsoft.com/office/drawing/2014/main" id="{74411D5F-C3E8-45E8-9B26-29FB4505F0A1}"/>
              </a:ext>
            </a:extLst>
          </p:cNvPr>
          <p:cNvCxnSpPr/>
          <p:nvPr/>
        </p:nvCxnSpPr>
        <p:spPr>
          <a:xfrm>
            <a:off x="749756" y="-1432699"/>
            <a:ext cx="1089465" cy="0"/>
          </a:xfrm>
          <a:prstGeom prst="line">
            <a:avLst/>
          </a:prstGeom>
          <a:ln w="0" cap="flat" cmpd="sng" algn="ctr">
            <a:solidFill>
              <a:srgbClr val="FBFFFF"/>
            </a:solidFill>
            <a:prstDash val="solid"/>
            <a:miter lim="800000"/>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AA2FB50-B931-4C7B-8A09-4BE4A62B5796}"/>
              </a:ext>
            </a:extLst>
          </p:cNvPr>
          <p:cNvSpPr txBox="1"/>
          <p:nvPr/>
        </p:nvSpPr>
        <p:spPr>
          <a:xfrm>
            <a:off x="305308" y="533674"/>
            <a:ext cx="8718112" cy="523220"/>
          </a:xfrm>
          <a:prstGeom prst="rect">
            <a:avLst/>
          </a:prstGeom>
          <a:noFill/>
          <a:ln w="6350">
            <a:noFill/>
            <a:miter lim="800000"/>
          </a:ln>
        </p:spPr>
        <p:txBody>
          <a:bodyPr wrap="square">
            <a:spAutoFit/>
          </a:bodyPr>
          <a:lstStyle/>
          <a:p>
            <a:r>
              <a:rPr lang="en-US" sz="1400" b="1" dirty="0">
                <a:solidFill>
                  <a:schemeClr val="tx2"/>
                </a:solidFill>
                <a:latin typeface="+mj-lt"/>
              </a:rPr>
              <a:t>Which treatment plants participate in wastewater surveillance? </a:t>
            </a:r>
          </a:p>
          <a:p>
            <a:r>
              <a:rPr lang="en-US" sz="1400" dirty="0">
                <a:latin typeface="+mj-lt"/>
              </a:rPr>
              <a:t>Samples are generally taken 2 or more times each week at the following wastewater treatment plants: </a:t>
            </a:r>
          </a:p>
        </p:txBody>
      </p:sp>
      <p:graphicFrame>
        <p:nvGraphicFramePr>
          <p:cNvPr id="9" name="Table 8">
            <a:extLst>
              <a:ext uri="{FF2B5EF4-FFF2-40B4-BE49-F238E27FC236}">
                <a16:creationId xmlns:a16="http://schemas.microsoft.com/office/drawing/2014/main" id="{98082A20-A470-A39C-FF88-E914097BB6A1}"/>
              </a:ext>
            </a:extLst>
          </p:cNvPr>
          <p:cNvGraphicFramePr>
            <a:graphicFrameLocks noGrp="1"/>
          </p:cNvGraphicFramePr>
          <p:nvPr>
            <p:extLst>
              <p:ext uri="{D42A27DB-BD31-4B8C-83A1-F6EECF244321}">
                <p14:modId xmlns:p14="http://schemas.microsoft.com/office/powerpoint/2010/main" val="67814156"/>
              </p:ext>
            </p:extLst>
          </p:nvPr>
        </p:nvGraphicFramePr>
        <p:xfrm>
          <a:off x="416053" y="1147156"/>
          <a:ext cx="3869876" cy="5189220"/>
        </p:xfrm>
        <a:graphic>
          <a:graphicData uri="http://schemas.openxmlformats.org/drawingml/2006/table">
            <a:tbl>
              <a:tblPr firstRow="1">
                <a:tableStyleId>{9DCAF9ED-07DC-4A11-8D7F-57B35C25682E}</a:tableStyleId>
              </a:tblPr>
              <a:tblGrid>
                <a:gridCol w="2402561">
                  <a:extLst>
                    <a:ext uri="{9D8B030D-6E8A-4147-A177-3AD203B41FA5}">
                      <a16:colId xmlns:a16="http://schemas.microsoft.com/office/drawing/2014/main" val="1630722757"/>
                    </a:ext>
                  </a:extLst>
                </a:gridCol>
                <a:gridCol w="1467315">
                  <a:extLst>
                    <a:ext uri="{9D8B030D-6E8A-4147-A177-3AD203B41FA5}">
                      <a16:colId xmlns:a16="http://schemas.microsoft.com/office/drawing/2014/main" val="3622203669"/>
                    </a:ext>
                  </a:extLst>
                </a:gridCol>
              </a:tblGrid>
              <a:tr h="140304">
                <a:tc>
                  <a:txBody>
                    <a:bodyPr/>
                    <a:lstStyle/>
                    <a:p>
                      <a:pPr algn="ctr"/>
                      <a:r>
                        <a:rPr lang="en-US" sz="1050" b="0" dirty="0">
                          <a:solidFill>
                            <a:schemeClr val="tx2"/>
                          </a:solidFill>
                        </a:rPr>
                        <a:t>Treatment Plant</a:t>
                      </a: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50" b="0" dirty="0">
                          <a:solidFill>
                            <a:schemeClr val="tx2"/>
                          </a:solidFill>
                        </a:rPr>
                        <a:t>Geographic Coverage</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18428721"/>
                  </a:ext>
                </a:extLst>
              </a:tr>
              <a:tr h="126274">
                <a:tc>
                  <a:txBody>
                    <a:bodyPr/>
                    <a:lstStyle/>
                    <a:p>
                      <a:r>
                        <a:rPr lang="en-US" sz="1050" dirty="0"/>
                        <a:t>Amherst Public Works</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Amherst</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39725627"/>
                  </a:ext>
                </a:extLst>
              </a:tr>
              <a:tr h="126274">
                <a:tc>
                  <a:txBody>
                    <a:bodyPr/>
                    <a:lstStyle/>
                    <a:p>
                      <a:r>
                        <a:rPr lang="en-US" sz="1050" dirty="0"/>
                        <a:t>Athol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Athol</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560211122"/>
                  </a:ext>
                </a:extLst>
              </a:tr>
              <a:tr h="126274">
                <a:tc>
                  <a:txBody>
                    <a:bodyPr/>
                    <a:lstStyle/>
                    <a:p>
                      <a:r>
                        <a:rPr lang="en-US" sz="1050" dirty="0"/>
                        <a:t>Billerica Influent</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Billerica</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5862324"/>
                  </a:ext>
                </a:extLst>
              </a:tr>
              <a:tr h="126274">
                <a:tc>
                  <a:txBody>
                    <a:bodyPr/>
                    <a:lstStyle/>
                    <a:p>
                      <a:r>
                        <a:rPr lang="en-US" sz="1050" dirty="0"/>
                        <a:t>Veolia Brockton Plant</a:t>
                      </a:r>
                    </a:p>
                  </a:txBody>
                  <a:tcP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Brockton</a:t>
                      </a:r>
                    </a:p>
                  </a:txBody>
                  <a:tcP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7537867"/>
                  </a:ext>
                </a:extLst>
              </a:tr>
              <a:tr h="126274">
                <a:tc>
                  <a:txBody>
                    <a:bodyPr/>
                    <a:lstStyle/>
                    <a:p>
                      <a:r>
                        <a:rPr lang="en-US" sz="1050" dirty="0"/>
                        <a:t>Chicopee Plant</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Chicopee</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945952494"/>
                  </a:ext>
                </a:extLst>
              </a:tr>
              <a:tr h="126274">
                <a:tc>
                  <a:txBody>
                    <a:bodyPr/>
                    <a:lstStyle/>
                    <a:p>
                      <a:r>
                        <a:rPr lang="en-US" sz="1050" dirty="0"/>
                        <a:t>Douglas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Douglas</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96353119"/>
                  </a:ext>
                </a:extLst>
              </a:tr>
              <a:tr h="126274">
                <a:tc>
                  <a:txBody>
                    <a:bodyPr/>
                    <a:lstStyle/>
                    <a:p>
                      <a:r>
                        <a:rPr lang="en-US" sz="1050" dirty="0"/>
                        <a:t>Fitchburg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Fitchburg</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146971654"/>
                  </a:ext>
                </a:extLst>
              </a:tr>
              <a:tr h="126274">
                <a:tc>
                  <a:txBody>
                    <a:bodyPr/>
                    <a:lstStyle/>
                    <a:p>
                      <a:r>
                        <a:rPr lang="en-US" sz="1050" dirty="0"/>
                        <a:t>Grafton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Grafton</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251159924"/>
                  </a:ext>
                </a:extLst>
              </a:tr>
              <a:tr h="126274">
                <a:tc>
                  <a:txBody>
                    <a:bodyPr/>
                    <a:lstStyle/>
                    <a:p>
                      <a:r>
                        <a:rPr lang="en-US" sz="1050" dirty="0"/>
                        <a:t>Greenfield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Greenfield</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833358467"/>
                  </a:ext>
                </a:extLst>
              </a:tr>
              <a:tr h="126274">
                <a:tc>
                  <a:txBody>
                    <a:bodyPr/>
                    <a:lstStyle/>
                    <a:p>
                      <a:r>
                        <a:rPr lang="en-US" sz="1050" dirty="0"/>
                        <a:t>Haverhill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Haverhill</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403206871"/>
                  </a:ext>
                </a:extLst>
              </a:tr>
              <a:tr h="126274">
                <a:tc>
                  <a:txBody>
                    <a:bodyPr/>
                    <a:lstStyle/>
                    <a:p>
                      <a:r>
                        <a:rPr lang="en-US" sz="1050" dirty="0"/>
                        <a:t>Hull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Hull</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21311574"/>
                  </a:ext>
                </a:extLst>
              </a:tr>
              <a:tr h="126274">
                <a:tc>
                  <a:txBody>
                    <a:bodyPr/>
                    <a:lstStyle/>
                    <a:p>
                      <a:r>
                        <a:rPr lang="en-US" sz="1050" dirty="0"/>
                        <a:t>New Bedford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New Bedford</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847319062"/>
                  </a:ext>
                </a:extLst>
              </a:tr>
              <a:tr h="126274">
                <a:tc>
                  <a:txBody>
                    <a:bodyPr/>
                    <a:lstStyle/>
                    <a:p>
                      <a:r>
                        <a:rPr lang="en-US" sz="1050" dirty="0"/>
                        <a:t>North Brookfield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North Brookfield</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146681002"/>
                  </a:ext>
                </a:extLst>
              </a:tr>
              <a:tr h="159757">
                <a:tc>
                  <a:txBody>
                    <a:bodyPr/>
                    <a:lstStyle/>
                    <a:p>
                      <a:r>
                        <a:rPr lang="en-US" sz="1050" dirty="0"/>
                        <a:t>South Essex Sewage District</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Peabody &amp; Salem</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4108338041"/>
                  </a:ext>
                </a:extLst>
              </a:tr>
              <a:tr h="159757">
                <a:tc>
                  <a:txBody>
                    <a:bodyPr/>
                    <a:lstStyle/>
                    <a:p>
                      <a:r>
                        <a:rPr lang="en-US" sz="1050" dirty="0"/>
                        <a:t>Plymouth Headworks Influent</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Plymouth</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42418065"/>
                  </a:ext>
                </a:extLst>
              </a:tr>
              <a:tr h="159757">
                <a:tc>
                  <a:txBody>
                    <a:bodyPr/>
                    <a:lstStyle/>
                    <a:p>
                      <a:r>
                        <a:rPr lang="en-US" sz="1050" dirty="0"/>
                        <a:t>Provincetown Treatment Plant</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Provincetown</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489294754"/>
                  </a:ext>
                </a:extLst>
              </a:tr>
              <a:tr h="159757">
                <a:tc>
                  <a:txBody>
                    <a:bodyPr/>
                    <a:lstStyle/>
                    <a:p>
                      <a:r>
                        <a:rPr lang="en-US" sz="1050" dirty="0"/>
                        <a:t>South Hadley Water Pollution Control</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South Hadley</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7180267"/>
                  </a:ext>
                </a:extLst>
              </a:tr>
              <a:tr h="126274">
                <a:tc>
                  <a:txBody>
                    <a:bodyPr/>
                    <a:lstStyle/>
                    <a:p>
                      <a:r>
                        <a:rPr lang="en-US" sz="1050" dirty="0"/>
                        <a:t>Uxbridge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Uxbridge</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999324381"/>
                  </a:ext>
                </a:extLst>
              </a:tr>
              <a:tr h="159757">
                <a:tc>
                  <a:txBody>
                    <a:bodyPr/>
                    <a:lstStyle/>
                    <a:p>
                      <a:r>
                        <a:rPr lang="en-US" sz="1050" dirty="0"/>
                        <a:t>Wareham Water Pollution Control</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Wareham</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2733173964"/>
                  </a:ext>
                </a:extLst>
              </a:tr>
            </a:tbl>
          </a:graphicData>
        </a:graphic>
      </p:graphicFrame>
      <p:graphicFrame>
        <p:nvGraphicFramePr>
          <p:cNvPr id="12" name="Table 11">
            <a:extLst>
              <a:ext uri="{FF2B5EF4-FFF2-40B4-BE49-F238E27FC236}">
                <a16:creationId xmlns:a16="http://schemas.microsoft.com/office/drawing/2014/main" id="{E5408D10-E129-AB65-66DE-460657B3EB69}"/>
              </a:ext>
            </a:extLst>
          </p:cNvPr>
          <p:cNvGraphicFramePr>
            <a:graphicFrameLocks noGrp="1"/>
          </p:cNvGraphicFramePr>
          <p:nvPr>
            <p:extLst>
              <p:ext uri="{D42A27DB-BD31-4B8C-83A1-F6EECF244321}">
                <p14:modId xmlns:p14="http://schemas.microsoft.com/office/powerpoint/2010/main" val="1870873460"/>
              </p:ext>
            </p:extLst>
          </p:nvPr>
        </p:nvGraphicFramePr>
        <p:xfrm>
          <a:off x="4538987" y="1147156"/>
          <a:ext cx="3869876" cy="3909060"/>
        </p:xfrm>
        <a:graphic>
          <a:graphicData uri="http://schemas.openxmlformats.org/drawingml/2006/table">
            <a:tbl>
              <a:tblPr firstRow="1">
                <a:tableStyleId>{9DCAF9ED-07DC-4A11-8D7F-57B35C25682E}</a:tableStyleId>
              </a:tblPr>
              <a:tblGrid>
                <a:gridCol w="1232073">
                  <a:extLst>
                    <a:ext uri="{9D8B030D-6E8A-4147-A177-3AD203B41FA5}">
                      <a16:colId xmlns:a16="http://schemas.microsoft.com/office/drawing/2014/main" val="1630722757"/>
                    </a:ext>
                  </a:extLst>
                </a:gridCol>
                <a:gridCol w="2637803">
                  <a:extLst>
                    <a:ext uri="{9D8B030D-6E8A-4147-A177-3AD203B41FA5}">
                      <a16:colId xmlns:a16="http://schemas.microsoft.com/office/drawing/2014/main" val="3622203669"/>
                    </a:ext>
                  </a:extLst>
                </a:gridCol>
              </a:tblGrid>
              <a:tr h="140304">
                <a:tc>
                  <a:txBody>
                    <a:bodyPr/>
                    <a:lstStyle/>
                    <a:p>
                      <a:pPr algn="ctr"/>
                      <a:r>
                        <a:rPr lang="en-US" sz="1050" b="0" dirty="0">
                          <a:solidFill>
                            <a:schemeClr val="tx2"/>
                          </a:solidFill>
                        </a:rPr>
                        <a:t>Treatment Plant</a:t>
                      </a:r>
                    </a:p>
                  </a:txBody>
                  <a:tcPr anchor="ct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r>
                        <a:rPr lang="en-US" sz="1050" b="0" dirty="0">
                          <a:solidFill>
                            <a:schemeClr val="tx2"/>
                          </a:solidFill>
                        </a:rPr>
                        <a:t>Geographic Coverage</a:t>
                      </a:r>
                    </a:p>
                  </a:txBody>
                  <a:tcPr anchor="ct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18428721"/>
                  </a:ext>
                </a:extLst>
              </a:tr>
              <a:tr h="126274">
                <a:tc>
                  <a:txBody>
                    <a:bodyPr/>
                    <a:lstStyle/>
                    <a:p>
                      <a:r>
                        <a:rPr lang="en-US" sz="1050" dirty="0"/>
                        <a:t>Greater Lawrence Sanitary District</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Lawrence, Methuen, North Andover, Andover, Dracut, &amp; Salem</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780700180"/>
                  </a:ext>
                </a:extLst>
              </a:tr>
              <a:tr h="126274">
                <a:tc>
                  <a:txBody>
                    <a:bodyPr/>
                    <a:lstStyle/>
                    <a:p>
                      <a:r>
                        <a:rPr lang="en-US" sz="1050" dirty="0"/>
                        <a:t>Pittsfield WWTP</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Pittsfield, Dalton, Hinsdale, &amp; Lenox</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39725627"/>
                  </a:ext>
                </a:extLst>
              </a:tr>
              <a:tr h="126274">
                <a:tc>
                  <a:txBody>
                    <a:bodyPr/>
                    <a:lstStyle/>
                    <a:p>
                      <a:r>
                        <a:rPr lang="en-US" sz="1050" dirty="0"/>
                        <a:t>Upper Blackstone Clean Water</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Worcester, Auburn, Holden, Millbury, Rutland, West Boylston, &amp; Leicester</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560211122"/>
                  </a:ext>
                </a:extLst>
              </a:tr>
              <a:tr h="126274">
                <a:tc>
                  <a:txBody>
                    <a:bodyPr/>
                    <a:lstStyle/>
                    <a:p>
                      <a:r>
                        <a:rPr lang="en-US" sz="1050" dirty="0"/>
                        <a:t>MWRA Deer Island Treatment Plant North</a:t>
                      </a:r>
                    </a:p>
                  </a:txBody>
                  <a:tcPr>
                    <a:lnL w="12700" cap="flat" cmpd="sng" algn="ctr">
                      <a:solidFill>
                        <a:schemeClr val="bg1">
                          <a:lumMod val="75000"/>
                        </a:schemeClr>
                      </a:solidFill>
                      <a:prstDash val="solid"/>
                      <a:round/>
                      <a:headEnd type="none" w="med" len="med"/>
                      <a:tailEnd type="none" w="med" len="med"/>
                    </a:lnL>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Wilmington, Reading, Wakefield, Burlington, Bedford, Woburn, Stoneham, Melrose, Malden, Winchester, Lexington, Waltham, Belmont, Arlington, Medford, Everett, Revere, Chelsea, Winthrop, Somerville, Cambridge, Watertown, Boston, Newton, Brookline</a:t>
                      </a:r>
                    </a:p>
                  </a:txBody>
                  <a:tcPr>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75862324"/>
                  </a:ext>
                </a:extLst>
              </a:tr>
              <a:tr h="126274">
                <a:tc>
                  <a:txBody>
                    <a:bodyPr/>
                    <a:lstStyle/>
                    <a:p>
                      <a:r>
                        <a:rPr lang="en-US" sz="1050" dirty="0"/>
                        <a:t>MWRA Deer Island Treatment Plant South </a:t>
                      </a:r>
                    </a:p>
                  </a:txBody>
                  <a:tcPr>
                    <a:lnL w="12700" cap="flat" cmpd="sng" algn="ctr">
                      <a:solidFill>
                        <a:schemeClr val="bg1">
                          <a:lumMod val="75000"/>
                        </a:schemeClr>
                      </a:solidFill>
                      <a:prstDash val="solid"/>
                      <a:round/>
                      <a:headEnd type="none" w="med" len="med"/>
                      <a:tailEnd type="none" w="med" len="med"/>
                    </a:lnL>
                    <a:lnR>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050" dirty="0"/>
                        <a:t>Framingham, Ashland, Natick, Wellesley, Needham, Newton, Brookline, Boston, Dedham, Westwood, Norwood, Walpole, Canton, Milton, Quincy, Braintree, Randolph, Stoughton, Holbrook, Weymouth, Hingham</a:t>
                      </a:r>
                    </a:p>
                  </a:txBody>
                  <a:tcPr>
                    <a:lnL>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47537867"/>
                  </a:ext>
                </a:extLst>
              </a:tr>
            </a:tbl>
          </a:graphicData>
        </a:graphic>
      </p:graphicFrame>
      <p:sp>
        <p:nvSpPr>
          <p:cNvPr id="10" name="Rectangle 9">
            <a:extLst>
              <a:ext uri="{FF2B5EF4-FFF2-40B4-BE49-F238E27FC236}">
                <a16:creationId xmlns:a16="http://schemas.microsoft.com/office/drawing/2014/main" id="{C0CBA51E-F50E-555B-07DD-74C3198E89AE}"/>
              </a:ext>
            </a:extLst>
          </p:cNvPr>
          <p:cNvSpPr/>
          <p:nvPr/>
        </p:nvSpPr>
        <p:spPr>
          <a:xfrm>
            <a:off x="355548" y="6627994"/>
            <a:ext cx="2046008" cy="230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Tree>
    <p:extLst>
      <p:ext uri="{BB962C8B-B14F-4D97-AF65-F5344CB8AC3E}">
        <p14:creationId xmlns:p14="http://schemas.microsoft.com/office/powerpoint/2010/main" val="20963843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D3852954-53CB-437D-9ABC-B8037C0C65F8}"/>
              </a:ext>
            </a:extLst>
          </p:cNvPr>
          <p:cNvGraphicFramePr>
            <a:graphicFrameLocks noChangeAspect="1"/>
          </p:cNvGraphicFramePr>
          <p:nvPr>
            <p:custDataLst>
              <p:tags r:id="rId1"/>
            </p:custDataLst>
          </p:nvPr>
        </p:nvGraphicFramePr>
        <p:xfrm>
          <a:off x="1486" y="858580"/>
          <a:ext cx="1214" cy="1214"/>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18" name="Object 17" hidden="1">
                        <a:extLst>
                          <a:ext uri="{FF2B5EF4-FFF2-40B4-BE49-F238E27FC236}">
                            <a16:creationId xmlns:a16="http://schemas.microsoft.com/office/drawing/2014/main" id="{D3852954-53CB-437D-9ABC-B8037C0C65F8}"/>
                          </a:ext>
                        </a:extLst>
                      </p:cNvPr>
                      <p:cNvPicPr/>
                      <p:nvPr/>
                    </p:nvPicPr>
                    <p:blipFill>
                      <a:blip r:embed="rId7"/>
                      <a:stretch>
                        <a:fillRect/>
                      </a:stretch>
                    </p:blipFill>
                    <p:spPr>
                      <a:xfrm>
                        <a:off x="1486" y="858580"/>
                        <a:ext cx="1214" cy="1214"/>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155BE234-10F7-4CE6-96BD-6AE8DFCE085D}"/>
              </a:ext>
            </a:extLst>
          </p:cNvPr>
          <p:cNvSpPr/>
          <p:nvPr>
            <p:custDataLst>
              <p:tags r:id="rId2"/>
            </p:custDataLst>
          </p:nvPr>
        </p:nvSpPr>
        <p:spPr>
          <a:xfrm>
            <a:off x="271" y="857365"/>
            <a:ext cx="121475" cy="12147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srgbClr val="000000"/>
              </a:solidFill>
              <a:effectLst/>
              <a:uLnTx/>
              <a:uFillTx/>
              <a:latin typeface="Arial"/>
              <a:ea typeface="+mn-ea"/>
              <a:cs typeface="Arial" panose="020B0604020202020204" pitchFamily="34" charset="0"/>
              <a:sym typeface="+mn-lt"/>
            </a:endParaRPr>
          </a:p>
        </p:txBody>
      </p:sp>
      <p:sp>
        <p:nvSpPr>
          <p:cNvPr id="27" name="2. Slide Title">
            <a:extLst>
              <a:ext uri="{FF2B5EF4-FFF2-40B4-BE49-F238E27FC236}">
                <a16:creationId xmlns:a16="http://schemas.microsoft.com/office/drawing/2014/main" id="{DB3FF784-AD93-4005-BFCD-09C0D4CFADF8}"/>
              </a:ext>
            </a:extLst>
          </p:cNvPr>
          <p:cNvSpPr>
            <a:spLocks noGrp="1"/>
          </p:cNvSpPr>
          <p:nvPr>
            <p:ph type="title"/>
            <p:custDataLst>
              <p:tags r:id="rId3"/>
            </p:custDataLst>
          </p:nvPr>
        </p:nvSpPr>
        <p:spPr>
          <a:xfrm>
            <a:off x="416052" y="173736"/>
            <a:ext cx="8311896" cy="33855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CA" dirty="0"/>
              <a:t>Wastewater surveillance across MA treatment plants</a:t>
            </a:r>
          </a:p>
        </p:txBody>
      </p:sp>
      <p:sp>
        <p:nvSpPr>
          <p:cNvPr id="55" name="Sticker">
            <a:extLst>
              <a:ext uri="{FF2B5EF4-FFF2-40B4-BE49-F238E27FC236}">
                <a16:creationId xmlns:a16="http://schemas.microsoft.com/office/drawing/2014/main" id="{4060F086-018D-4FE8-B182-1ED99D95F42C}"/>
              </a:ext>
            </a:extLst>
          </p:cNvPr>
          <p:cNvSpPr txBox="1"/>
          <p:nvPr/>
        </p:nvSpPr>
        <p:spPr>
          <a:xfrm>
            <a:off x="406004" y="556544"/>
            <a:ext cx="2376575" cy="123111"/>
          </a:xfrm>
          <a:prstGeom prst="rect">
            <a:avLst/>
          </a:prstGeom>
          <a:noFill/>
          <a:ln w="6350">
            <a:noFill/>
            <a:miter lim="800000"/>
          </a:ln>
        </p:spPr>
        <p:txBody>
          <a:bodyPr vert="horz" wrap="square" lIns="0" tIns="0" rIns="0" bIns="0" rtlCol="0" anchor="t">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all" spc="0" normalizeH="0" baseline="0" noProof="0" dirty="0">
                <a:ln>
                  <a:noFill/>
                </a:ln>
                <a:solidFill>
                  <a:srgbClr val="000000"/>
                </a:solidFill>
                <a:effectLst/>
                <a:uLnTx/>
                <a:uFillTx/>
                <a:latin typeface="Arial"/>
                <a:ea typeface="+mn-ea"/>
                <a:cs typeface="+mn-cs"/>
              </a:rPr>
              <a:t>LAST UPDATED ON </a:t>
            </a:r>
            <a:r>
              <a:rPr lang="en-US" b="0" dirty="0">
                <a:solidFill>
                  <a:srgbClr val="000000"/>
                </a:solidFill>
                <a:latin typeface="Arial"/>
              </a:rPr>
              <a:t>September 28</a:t>
            </a:r>
            <a:r>
              <a:rPr kumimoji="0" lang="en-US" sz="800" b="0" i="0" u="none" strike="noStrike" kern="1200" cap="all" spc="0" normalizeH="0" baseline="0" noProof="0" dirty="0">
                <a:ln>
                  <a:noFill/>
                </a:ln>
                <a:solidFill>
                  <a:srgbClr val="000000"/>
                </a:solidFill>
                <a:effectLst/>
                <a:uLnTx/>
                <a:uFillTx/>
                <a:latin typeface="Arial"/>
                <a:ea typeface="+mn-ea"/>
                <a:cs typeface="+mn-cs"/>
              </a:rPr>
              <a:t>, 2022</a:t>
            </a:r>
          </a:p>
        </p:txBody>
      </p:sp>
      <p:sp>
        <p:nvSpPr>
          <p:cNvPr id="33" name="TextBox 32">
            <a:extLst>
              <a:ext uri="{FF2B5EF4-FFF2-40B4-BE49-F238E27FC236}">
                <a16:creationId xmlns:a16="http://schemas.microsoft.com/office/drawing/2014/main" id="{E184365A-F166-4DE1-A88B-C72454F0C1DE}"/>
              </a:ext>
            </a:extLst>
          </p:cNvPr>
          <p:cNvSpPr txBox="1"/>
          <p:nvPr/>
        </p:nvSpPr>
        <p:spPr>
          <a:xfrm>
            <a:off x="374742" y="6146771"/>
            <a:ext cx="8596883" cy="646331"/>
          </a:xfrm>
          <a:prstGeom prst="rect">
            <a:avLst/>
          </a:prstGeom>
          <a:noFill/>
          <a:ln w="6350">
            <a:noFill/>
            <a:miter lim="800000"/>
          </a:ln>
        </p:spPr>
        <p:txBody>
          <a:bodyPr wrap="square">
            <a:spAutoFit/>
          </a:bodyPr>
          <a:lstStyle/>
          <a:p>
            <a:r>
              <a:rPr lang="en-US" sz="900" dirty="0"/>
              <a:t>Samples are currently taken 1 - 7 times a week and analyzed by Biobot Analytics, a wastewater epidemiology company based in Cambridge, MA. The graphs represent the “7-day averages” which are the average viral copies over the past 7 days in each treatment plant. </a:t>
            </a:r>
          </a:p>
          <a:p>
            <a:r>
              <a:rPr lang="en-US" sz="900" i="1" dirty="0"/>
              <a:t>MWRA data:  https://www.mwra.com/biobot/biobotdata.htm</a:t>
            </a:r>
          </a:p>
          <a:p>
            <a:endParaRPr lang="en-US" sz="900" dirty="0"/>
          </a:p>
        </p:txBody>
      </p:sp>
      <p:sp>
        <p:nvSpPr>
          <p:cNvPr id="3" name="Rectangle 2">
            <a:extLst>
              <a:ext uri="{FF2B5EF4-FFF2-40B4-BE49-F238E27FC236}">
                <a16:creationId xmlns:a16="http://schemas.microsoft.com/office/drawing/2014/main" id="{12990877-6F79-A466-A3A3-3E3D26382FDA}"/>
              </a:ext>
            </a:extLst>
          </p:cNvPr>
          <p:cNvSpPr/>
          <p:nvPr/>
        </p:nvSpPr>
        <p:spPr>
          <a:xfrm>
            <a:off x="420190" y="833362"/>
            <a:ext cx="4054764" cy="4398948"/>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 name="TextBox 3">
            <a:extLst>
              <a:ext uri="{FF2B5EF4-FFF2-40B4-BE49-F238E27FC236}">
                <a16:creationId xmlns:a16="http://schemas.microsoft.com/office/drawing/2014/main" id="{0D4394EC-E30C-6F74-1A9A-60A4B68F88B7}"/>
              </a:ext>
            </a:extLst>
          </p:cNvPr>
          <p:cNvSpPr txBox="1"/>
          <p:nvPr/>
        </p:nvSpPr>
        <p:spPr>
          <a:xfrm>
            <a:off x="420189" y="833362"/>
            <a:ext cx="4054764" cy="575569"/>
          </a:xfrm>
          <a:prstGeom prst="rect">
            <a:avLst/>
          </a:prstGeom>
          <a:solidFill>
            <a:schemeClr val="tx1"/>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North Shore &amp; Boston 7-Day Averages</a:t>
            </a:r>
          </a:p>
          <a:p>
            <a:pPr algn="ctr">
              <a:spcBef>
                <a:spcPts val="300"/>
              </a:spcBef>
              <a:spcAft>
                <a:spcPts val="300"/>
              </a:spcAft>
              <a:buNone/>
            </a:pPr>
            <a:r>
              <a:rPr lang="en-US" sz="1200" dirty="0">
                <a:solidFill>
                  <a:schemeClr val="bg1"/>
                </a:solidFill>
              </a:rPr>
              <a:t>August 20, 2022 – September 26, 2022</a:t>
            </a:r>
          </a:p>
        </p:txBody>
      </p:sp>
      <p:sp>
        <p:nvSpPr>
          <p:cNvPr id="6" name="TextBox 5">
            <a:extLst>
              <a:ext uri="{FF2B5EF4-FFF2-40B4-BE49-F238E27FC236}">
                <a16:creationId xmlns:a16="http://schemas.microsoft.com/office/drawing/2014/main" id="{0D64BCC6-ECFF-34C6-0A0C-81B308A682ED}"/>
              </a:ext>
            </a:extLst>
          </p:cNvPr>
          <p:cNvSpPr txBox="1"/>
          <p:nvPr/>
        </p:nvSpPr>
        <p:spPr>
          <a:xfrm>
            <a:off x="420190" y="5232309"/>
            <a:ext cx="4054763" cy="914462"/>
          </a:xfrm>
          <a:prstGeom prst="rect">
            <a:avLst/>
          </a:prstGeom>
          <a:solidFill>
            <a:schemeClr val="bg1">
              <a:lumMod val="95000"/>
            </a:schemeClr>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endParaRPr lang="en-US" sz="1400" dirty="0">
              <a:highlight>
                <a:srgbClr val="FFFF00"/>
              </a:highlight>
            </a:endParaRPr>
          </a:p>
        </p:txBody>
      </p:sp>
      <p:grpSp>
        <p:nvGrpSpPr>
          <p:cNvPr id="54" name="Group 53">
            <a:extLst>
              <a:ext uri="{FF2B5EF4-FFF2-40B4-BE49-F238E27FC236}">
                <a16:creationId xmlns:a16="http://schemas.microsoft.com/office/drawing/2014/main" id="{CA7121D5-483E-AF9E-84D8-EF4C43429128}"/>
              </a:ext>
            </a:extLst>
          </p:cNvPr>
          <p:cNvGrpSpPr/>
          <p:nvPr/>
        </p:nvGrpSpPr>
        <p:grpSpPr>
          <a:xfrm>
            <a:off x="4649289" y="833362"/>
            <a:ext cx="4054765" cy="5313409"/>
            <a:chOff x="416051" y="1177325"/>
            <a:chExt cx="4054765" cy="4957264"/>
          </a:xfrm>
        </p:grpSpPr>
        <p:sp>
          <p:nvSpPr>
            <p:cNvPr id="79" name="Rectangle 78">
              <a:extLst>
                <a:ext uri="{FF2B5EF4-FFF2-40B4-BE49-F238E27FC236}">
                  <a16:creationId xmlns:a16="http://schemas.microsoft.com/office/drawing/2014/main" id="{246BAA84-77C4-1ED6-76D1-1AA74A535853}"/>
                </a:ext>
              </a:extLst>
            </p:cNvPr>
            <p:cNvSpPr/>
            <p:nvPr/>
          </p:nvSpPr>
          <p:spPr>
            <a:xfrm>
              <a:off x="416052" y="1177325"/>
              <a:ext cx="4054764" cy="4104097"/>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80" name="TextBox 79">
              <a:extLst>
                <a:ext uri="{FF2B5EF4-FFF2-40B4-BE49-F238E27FC236}">
                  <a16:creationId xmlns:a16="http://schemas.microsoft.com/office/drawing/2014/main" id="{7A80606D-E1A1-8EE5-E7A4-C155A41DCDC1}"/>
                </a:ext>
              </a:extLst>
            </p:cNvPr>
            <p:cNvSpPr txBox="1"/>
            <p:nvPr/>
          </p:nvSpPr>
          <p:spPr>
            <a:xfrm>
              <a:off x="416051" y="1177325"/>
              <a:ext cx="4054764" cy="536990"/>
            </a:xfrm>
            <a:prstGeom prst="rect">
              <a:avLst/>
            </a:prstGeom>
            <a:solidFill>
              <a:schemeClr val="tx1"/>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South Shore &amp; Cape Cod 7-Day Averages</a:t>
              </a:r>
            </a:p>
            <a:p>
              <a:pPr algn="ctr">
                <a:spcBef>
                  <a:spcPts val="300"/>
                </a:spcBef>
                <a:spcAft>
                  <a:spcPts val="300"/>
                </a:spcAft>
                <a:buNone/>
              </a:pPr>
              <a:r>
                <a:rPr lang="en-US" sz="1200" dirty="0">
                  <a:solidFill>
                    <a:schemeClr val="bg1"/>
                  </a:solidFill>
                </a:rPr>
                <a:t>August 20, 2022 – September 26, 2022</a:t>
              </a:r>
            </a:p>
          </p:txBody>
        </p:sp>
        <p:sp>
          <p:nvSpPr>
            <p:cNvPr id="81" name="TextBox 80">
              <a:extLst>
                <a:ext uri="{FF2B5EF4-FFF2-40B4-BE49-F238E27FC236}">
                  <a16:creationId xmlns:a16="http://schemas.microsoft.com/office/drawing/2014/main" id="{27CFF61E-C91E-A294-AAF8-6B62FA3C2352}"/>
                </a:ext>
              </a:extLst>
            </p:cNvPr>
            <p:cNvSpPr txBox="1"/>
            <p:nvPr/>
          </p:nvSpPr>
          <p:spPr>
            <a:xfrm>
              <a:off x="416052" y="5281421"/>
              <a:ext cx="4054763" cy="853168"/>
            </a:xfrm>
            <a:prstGeom prst="rect">
              <a:avLst/>
            </a:prstGeom>
            <a:solidFill>
              <a:schemeClr val="bg1">
                <a:lumMod val="95000"/>
              </a:schemeClr>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endParaRPr lang="en-US" sz="1400" dirty="0">
                <a:highlight>
                  <a:srgbClr val="FFFF00"/>
                </a:highlight>
              </a:endParaRPr>
            </a:p>
          </p:txBody>
        </p:sp>
      </p:grpSp>
      <p:graphicFrame>
        <p:nvGraphicFramePr>
          <p:cNvPr id="56" name="Chart 55">
            <a:extLst>
              <a:ext uri="{FF2B5EF4-FFF2-40B4-BE49-F238E27FC236}">
                <a16:creationId xmlns:a16="http://schemas.microsoft.com/office/drawing/2014/main" id="{F9977055-568F-013A-7D4D-C8CC754D74E1}"/>
              </a:ext>
            </a:extLst>
          </p:cNvPr>
          <p:cNvGraphicFramePr/>
          <p:nvPr>
            <p:extLst>
              <p:ext uri="{D42A27DB-BD31-4B8C-83A1-F6EECF244321}">
                <p14:modId xmlns:p14="http://schemas.microsoft.com/office/powerpoint/2010/main" val="2428663076"/>
              </p:ext>
            </p:extLst>
          </p:nvPr>
        </p:nvGraphicFramePr>
        <p:xfrm>
          <a:off x="4260770" y="1321779"/>
          <a:ext cx="4501468" cy="3902910"/>
        </p:xfrm>
        <a:graphic>
          <a:graphicData uri="http://schemas.openxmlformats.org/drawingml/2006/chart">
            <c:chart xmlns:c="http://schemas.openxmlformats.org/drawingml/2006/chart" xmlns:r="http://schemas.openxmlformats.org/officeDocument/2006/relationships" r:id="rId8"/>
          </a:graphicData>
        </a:graphic>
      </p:graphicFrame>
      <p:sp>
        <p:nvSpPr>
          <p:cNvPr id="52" name="Rectangle 51">
            <a:extLst>
              <a:ext uri="{FF2B5EF4-FFF2-40B4-BE49-F238E27FC236}">
                <a16:creationId xmlns:a16="http://schemas.microsoft.com/office/drawing/2014/main" id="{4A93C295-4D9D-C339-A1AD-C4E6D056B04E}"/>
              </a:ext>
            </a:extLst>
          </p:cNvPr>
          <p:cNvSpPr/>
          <p:nvPr/>
        </p:nvSpPr>
        <p:spPr>
          <a:xfrm>
            <a:off x="355548" y="6627994"/>
            <a:ext cx="2046008" cy="230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nvGrpSpPr>
          <p:cNvPr id="12" name="Group 11">
            <a:extLst>
              <a:ext uri="{FF2B5EF4-FFF2-40B4-BE49-F238E27FC236}">
                <a16:creationId xmlns:a16="http://schemas.microsoft.com/office/drawing/2014/main" id="{800A5E54-9171-5DEE-4A1D-F7613BB01C94}"/>
              </a:ext>
            </a:extLst>
          </p:cNvPr>
          <p:cNvGrpSpPr/>
          <p:nvPr/>
        </p:nvGrpSpPr>
        <p:grpSpPr>
          <a:xfrm>
            <a:off x="482110" y="5302806"/>
            <a:ext cx="1977183" cy="809754"/>
            <a:chOff x="471950" y="5302806"/>
            <a:chExt cx="1977183" cy="809754"/>
          </a:xfrm>
        </p:grpSpPr>
        <p:grpSp>
          <p:nvGrpSpPr>
            <p:cNvPr id="16" name="Group 15">
              <a:extLst>
                <a:ext uri="{FF2B5EF4-FFF2-40B4-BE49-F238E27FC236}">
                  <a16:creationId xmlns:a16="http://schemas.microsoft.com/office/drawing/2014/main" id="{96AF4C2D-343A-DFA9-EF5D-96955E13D8B6}"/>
                </a:ext>
              </a:extLst>
            </p:cNvPr>
            <p:cNvGrpSpPr/>
            <p:nvPr/>
          </p:nvGrpSpPr>
          <p:grpSpPr>
            <a:xfrm>
              <a:off x="471950" y="5302806"/>
              <a:ext cx="1977183" cy="155503"/>
              <a:chOff x="464330" y="5287566"/>
              <a:chExt cx="1977183" cy="155503"/>
            </a:xfrm>
          </p:grpSpPr>
          <p:sp>
            <p:nvSpPr>
              <p:cNvPr id="10" name="TextBox 9">
                <a:extLst>
                  <a:ext uri="{FF2B5EF4-FFF2-40B4-BE49-F238E27FC236}">
                    <a16:creationId xmlns:a16="http://schemas.microsoft.com/office/drawing/2014/main" id="{43C47614-A6C3-72D7-AD93-A1879B14E08A}"/>
                  </a:ext>
                </a:extLst>
              </p:cNvPr>
              <p:cNvSpPr txBox="1"/>
              <p:nvPr/>
            </p:nvSpPr>
            <p:spPr>
              <a:xfrm>
                <a:off x="673673" y="5287566"/>
                <a:ext cx="1767840" cy="15550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900" dirty="0"/>
                  <a:t>Billerica</a:t>
                </a:r>
              </a:p>
            </p:txBody>
          </p:sp>
          <p:sp>
            <p:nvSpPr>
              <p:cNvPr id="11" name="Rectangle: Rounded Corners 10">
                <a:extLst>
                  <a:ext uri="{FF2B5EF4-FFF2-40B4-BE49-F238E27FC236}">
                    <a16:creationId xmlns:a16="http://schemas.microsoft.com/office/drawing/2014/main" id="{1A1670AB-324C-35AB-9A5F-2A72B9A5B75A}"/>
                  </a:ext>
                </a:extLst>
              </p:cNvPr>
              <p:cNvSpPr/>
              <p:nvPr/>
            </p:nvSpPr>
            <p:spPr>
              <a:xfrm>
                <a:off x="464330" y="5326441"/>
                <a:ext cx="182880" cy="77752"/>
              </a:xfrm>
              <a:prstGeom prst="roundRect">
                <a:avLst/>
              </a:prstGeom>
              <a:solidFill>
                <a:schemeClr val="accen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32" name="Group 31">
              <a:extLst>
                <a:ext uri="{FF2B5EF4-FFF2-40B4-BE49-F238E27FC236}">
                  <a16:creationId xmlns:a16="http://schemas.microsoft.com/office/drawing/2014/main" id="{9846F686-B9D0-1715-DECE-5C56C50E2BA0}"/>
                </a:ext>
              </a:extLst>
            </p:cNvPr>
            <p:cNvGrpSpPr/>
            <p:nvPr/>
          </p:nvGrpSpPr>
          <p:grpSpPr>
            <a:xfrm>
              <a:off x="471950" y="5520890"/>
              <a:ext cx="1977183" cy="155503"/>
              <a:chOff x="464330" y="5287566"/>
              <a:chExt cx="1977183" cy="155503"/>
            </a:xfrm>
          </p:grpSpPr>
          <p:sp>
            <p:nvSpPr>
              <p:cNvPr id="34" name="TextBox 33">
                <a:extLst>
                  <a:ext uri="{FF2B5EF4-FFF2-40B4-BE49-F238E27FC236}">
                    <a16:creationId xmlns:a16="http://schemas.microsoft.com/office/drawing/2014/main" id="{4A448B92-3782-DC1C-FFE6-33718E627BF6}"/>
                  </a:ext>
                </a:extLst>
              </p:cNvPr>
              <p:cNvSpPr txBox="1"/>
              <p:nvPr/>
            </p:nvSpPr>
            <p:spPr>
              <a:xfrm>
                <a:off x="673673" y="528756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Greater Lawrence Sanitary District</a:t>
                </a:r>
              </a:p>
            </p:txBody>
          </p:sp>
          <p:sp>
            <p:nvSpPr>
              <p:cNvPr id="35" name="Rectangle: Rounded Corners 34">
                <a:extLst>
                  <a:ext uri="{FF2B5EF4-FFF2-40B4-BE49-F238E27FC236}">
                    <a16:creationId xmlns:a16="http://schemas.microsoft.com/office/drawing/2014/main" id="{9AD3BCDB-DD36-A3C5-0B14-BBCDDEDC5FE5}"/>
                  </a:ext>
                </a:extLst>
              </p:cNvPr>
              <p:cNvSpPr/>
              <p:nvPr/>
            </p:nvSpPr>
            <p:spPr>
              <a:xfrm>
                <a:off x="464330" y="5326441"/>
                <a:ext cx="182880" cy="77752"/>
              </a:xfrm>
              <a:prstGeom prst="roundRect">
                <a:avLst/>
              </a:prstGeom>
              <a:solidFill>
                <a:schemeClr val="accent2"/>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36" name="Group 35">
              <a:extLst>
                <a:ext uri="{FF2B5EF4-FFF2-40B4-BE49-F238E27FC236}">
                  <a16:creationId xmlns:a16="http://schemas.microsoft.com/office/drawing/2014/main" id="{763A19AC-AEF7-89E9-AA4C-CB48D0C1B19B}"/>
                </a:ext>
              </a:extLst>
            </p:cNvPr>
            <p:cNvGrpSpPr/>
            <p:nvPr/>
          </p:nvGrpSpPr>
          <p:grpSpPr>
            <a:xfrm>
              <a:off x="471950" y="5738974"/>
              <a:ext cx="1977183" cy="155503"/>
              <a:chOff x="464330" y="5287566"/>
              <a:chExt cx="1977183" cy="155503"/>
            </a:xfrm>
          </p:grpSpPr>
          <p:sp>
            <p:nvSpPr>
              <p:cNvPr id="37" name="TextBox 36">
                <a:extLst>
                  <a:ext uri="{FF2B5EF4-FFF2-40B4-BE49-F238E27FC236}">
                    <a16:creationId xmlns:a16="http://schemas.microsoft.com/office/drawing/2014/main" id="{9AE45FDF-EA99-26F6-963F-49E34574E6CE}"/>
                  </a:ext>
                </a:extLst>
              </p:cNvPr>
              <p:cNvSpPr txBox="1"/>
              <p:nvPr/>
            </p:nvSpPr>
            <p:spPr>
              <a:xfrm>
                <a:off x="673673" y="528756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Haverhill Public Works</a:t>
                </a:r>
              </a:p>
            </p:txBody>
          </p:sp>
          <p:sp>
            <p:nvSpPr>
              <p:cNvPr id="38" name="Rectangle: Rounded Corners 37">
                <a:extLst>
                  <a:ext uri="{FF2B5EF4-FFF2-40B4-BE49-F238E27FC236}">
                    <a16:creationId xmlns:a16="http://schemas.microsoft.com/office/drawing/2014/main" id="{B9C23785-1693-497C-D9AA-22572D5F5AAF}"/>
                  </a:ext>
                </a:extLst>
              </p:cNvPr>
              <p:cNvSpPr/>
              <p:nvPr/>
            </p:nvSpPr>
            <p:spPr>
              <a:xfrm>
                <a:off x="464330" y="5326441"/>
                <a:ext cx="182880" cy="77752"/>
              </a:xfrm>
              <a:prstGeom prst="roundRect">
                <a:avLst/>
              </a:prstGeom>
              <a:solidFill>
                <a:srgbClr val="00B050"/>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40" name="Group 39">
              <a:extLst>
                <a:ext uri="{FF2B5EF4-FFF2-40B4-BE49-F238E27FC236}">
                  <a16:creationId xmlns:a16="http://schemas.microsoft.com/office/drawing/2014/main" id="{25EDCCF3-838B-CB36-14B8-AF4E524D84CD}"/>
                </a:ext>
              </a:extLst>
            </p:cNvPr>
            <p:cNvGrpSpPr/>
            <p:nvPr/>
          </p:nvGrpSpPr>
          <p:grpSpPr>
            <a:xfrm>
              <a:off x="471950" y="5957057"/>
              <a:ext cx="1977183" cy="155503"/>
              <a:chOff x="-1525055" y="5944920"/>
              <a:chExt cx="1977183" cy="155503"/>
            </a:xfrm>
          </p:grpSpPr>
          <p:sp>
            <p:nvSpPr>
              <p:cNvPr id="50" name="TextBox 49">
                <a:extLst>
                  <a:ext uri="{FF2B5EF4-FFF2-40B4-BE49-F238E27FC236}">
                    <a16:creationId xmlns:a16="http://schemas.microsoft.com/office/drawing/2014/main" id="{C67F8878-6BE7-DD49-33AB-973A73C3D2DB}"/>
                  </a:ext>
                </a:extLst>
              </p:cNvPr>
              <p:cNvSpPr txBox="1"/>
              <p:nvPr/>
            </p:nvSpPr>
            <p:spPr>
              <a:xfrm>
                <a:off x="-1315712" y="5944920"/>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MWRA North</a:t>
                </a:r>
              </a:p>
            </p:txBody>
          </p:sp>
          <p:sp>
            <p:nvSpPr>
              <p:cNvPr id="51" name="Rectangle: Rounded Corners 50">
                <a:extLst>
                  <a:ext uri="{FF2B5EF4-FFF2-40B4-BE49-F238E27FC236}">
                    <a16:creationId xmlns:a16="http://schemas.microsoft.com/office/drawing/2014/main" id="{D68CDFB7-A5D5-7AFA-3800-1BEB8BFCEB89}"/>
                  </a:ext>
                </a:extLst>
              </p:cNvPr>
              <p:cNvSpPr/>
              <p:nvPr/>
            </p:nvSpPr>
            <p:spPr>
              <a:xfrm>
                <a:off x="-1525055" y="5983795"/>
                <a:ext cx="182880" cy="77752"/>
              </a:xfrm>
              <a:prstGeom prst="roundRect">
                <a:avLst/>
              </a:prstGeom>
              <a:solidFill>
                <a:srgbClr val="F339DD"/>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grpSp>
        <p:nvGrpSpPr>
          <p:cNvPr id="42" name="Group 41">
            <a:extLst>
              <a:ext uri="{FF2B5EF4-FFF2-40B4-BE49-F238E27FC236}">
                <a16:creationId xmlns:a16="http://schemas.microsoft.com/office/drawing/2014/main" id="{589579A3-60A0-4F85-CB3A-1B783674A6C7}"/>
              </a:ext>
            </a:extLst>
          </p:cNvPr>
          <p:cNvGrpSpPr/>
          <p:nvPr/>
        </p:nvGrpSpPr>
        <p:grpSpPr>
          <a:xfrm>
            <a:off x="2471985" y="5315867"/>
            <a:ext cx="1980212" cy="155503"/>
            <a:chOff x="467360" y="5076746"/>
            <a:chExt cx="1980212" cy="155503"/>
          </a:xfrm>
        </p:grpSpPr>
        <p:sp>
          <p:nvSpPr>
            <p:cNvPr id="48" name="TextBox 47">
              <a:extLst>
                <a:ext uri="{FF2B5EF4-FFF2-40B4-BE49-F238E27FC236}">
                  <a16:creationId xmlns:a16="http://schemas.microsoft.com/office/drawing/2014/main" id="{2D25C179-75E4-72D9-C149-FA37EB378842}"/>
                </a:ext>
              </a:extLst>
            </p:cNvPr>
            <p:cNvSpPr txBox="1"/>
            <p:nvPr/>
          </p:nvSpPr>
          <p:spPr>
            <a:xfrm>
              <a:off x="679732" y="507674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MWRA South</a:t>
              </a:r>
            </a:p>
          </p:txBody>
        </p:sp>
        <p:sp>
          <p:nvSpPr>
            <p:cNvPr id="49" name="Rectangle: Rounded Corners 48">
              <a:extLst>
                <a:ext uri="{FF2B5EF4-FFF2-40B4-BE49-F238E27FC236}">
                  <a16:creationId xmlns:a16="http://schemas.microsoft.com/office/drawing/2014/main" id="{F5EE5FBE-F8A3-290D-8A14-E84387B584DD}"/>
                </a:ext>
              </a:extLst>
            </p:cNvPr>
            <p:cNvSpPr/>
            <p:nvPr/>
          </p:nvSpPr>
          <p:spPr>
            <a:xfrm>
              <a:off x="467360" y="5115621"/>
              <a:ext cx="182880" cy="77752"/>
            </a:xfrm>
            <a:prstGeom prst="roundRect">
              <a:avLst/>
            </a:prstGeom>
            <a:solidFill>
              <a:schemeClr val="accent5"/>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44" name="Group 43">
            <a:extLst>
              <a:ext uri="{FF2B5EF4-FFF2-40B4-BE49-F238E27FC236}">
                <a16:creationId xmlns:a16="http://schemas.microsoft.com/office/drawing/2014/main" id="{7E72B696-F0BD-56EA-A52F-508091B96AD7}"/>
              </a:ext>
            </a:extLst>
          </p:cNvPr>
          <p:cNvGrpSpPr/>
          <p:nvPr/>
        </p:nvGrpSpPr>
        <p:grpSpPr>
          <a:xfrm>
            <a:off x="2471985" y="5542851"/>
            <a:ext cx="1980212" cy="155503"/>
            <a:chOff x="467360" y="5076746"/>
            <a:chExt cx="1980212" cy="155503"/>
          </a:xfrm>
        </p:grpSpPr>
        <p:sp>
          <p:nvSpPr>
            <p:cNvPr id="45" name="TextBox 44">
              <a:extLst>
                <a:ext uri="{FF2B5EF4-FFF2-40B4-BE49-F238E27FC236}">
                  <a16:creationId xmlns:a16="http://schemas.microsoft.com/office/drawing/2014/main" id="{EE7D52EF-18E4-6785-3839-0D7684E82F45}"/>
                </a:ext>
              </a:extLst>
            </p:cNvPr>
            <p:cNvSpPr txBox="1"/>
            <p:nvPr/>
          </p:nvSpPr>
          <p:spPr>
            <a:xfrm>
              <a:off x="679732" y="507674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Peabody (South Essex Sewage)</a:t>
              </a:r>
            </a:p>
          </p:txBody>
        </p:sp>
        <p:sp>
          <p:nvSpPr>
            <p:cNvPr id="46" name="Rectangle: Rounded Corners 45">
              <a:extLst>
                <a:ext uri="{FF2B5EF4-FFF2-40B4-BE49-F238E27FC236}">
                  <a16:creationId xmlns:a16="http://schemas.microsoft.com/office/drawing/2014/main" id="{3A6387A1-2D35-B7C3-195B-B88E05137744}"/>
                </a:ext>
              </a:extLst>
            </p:cNvPr>
            <p:cNvSpPr/>
            <p:nvPr/>
          </p:nvSpPr>
          <p:spPr>
            <a:xfrm>
              <a:off x="467360" y="5115621"/>
              <a:ext cx="182880" cy="77752"/>
            </a:xfrm>
            <a:prstGeom prst="roundRect">
              <a:avLst/>
            </a:prstGeom>
            <a:solidFill>
              <a:schemeClr val="accent6"/>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sp>
        <p:nvSpPr>
          <p:cNvPr id="57" name="TextBox 56">
            <a:extLst>
              <a:ext uri="{FF2B5EF4-FFF2-40B4-BE49-F238E27FC236}">
                <a16:creationId xmlns:a16="http://schemas.microsoft.com/office/drawing/2014/main" id="{3B32822D-051A-F66A-3971-BECFA1698C62}"/>
              </a:ext>
            </a:extLst>
          </p:cNvPr>
          <p:cNvSpPr txBox="1"/>
          <p:nvPr/>
        </p:nvSpPr>
        <p:spPr>
          <a:xfrm>
            <a:off x="2698971" y="5755515"/>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Salem (South Essex Sewage)</a:t>
            </a:r>
          </a:p>
        </p:txBody>
      </p:sp>
      <p:sp>
        <p:nvSpPr>
          <p:cNvPr id="58" name="Rectangle: Rounded Corners 57">
            <a:extLst>
              <a:ext uri="{FF2B5EF4-FFF2-40B4-BE49-F238E27FC236}">
                <a16:creationId xmlns:a16="http://schemas.microsoft.com/office/drawing/2014/main" id="{3F5A6B7A-18A4-D1A7-D83C-EB497F2FC73B}"/>
              </a:ext>
            </a:extLst>
          </p:cNvPr>
          <p:cNvSpPr/>
          <p:nvPr/>
        </p:nvSpPr>
        <p:spPr>
          <a:xfrm>
            <a:off x="2467549" y="5794390"/>
            <a:ext cx="182880" cy="77752"/>
          </a:xfrm>
          <a:prstGeom prst="roundRect">
            <a:avLst/>
          </a:prstGeom>
          <a:solidFill>
            <a:srgbClr val="002060"/>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66" name="TextBox 65">
            <a:extLst>
              <a:ext uri="{FF2B5EF4-FFF2-40B4-BE49-F238E27FC236}">
                <a16:creationId xmlns:a16="http://schemas.microsoft.com/office/drawing/2014/main" id="{F0C34D39-E8CF-E3A9-9EB3-D0B7D1973D43}"/>
              </a:ext>
            </a:extLst>
          </p:cNvPr>
          <p:cNvSpPr txBox="1"/>
          <p:nvPr/>
        </p:nvSpPr>
        <p:spPr>
          <a:xfrm>
            <a:off x="4649290" y="5224689"/>
            <a:ext cx="4054763" cy="914462"/>
          </a:xfrm>
          <a:prstGeom prst="rect">
            <a:avLst/>
          </a:prstGeom>
          <a:solidFill>
            <a:schemeClr val="bg1">
              <a:lumMod val="95000"/>
            </a:schemeClr>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endParaRPr lang="en-US" sz="1400" dirty="0">
              <a:highlight>
                <a:srgbClr val="FFFF00"/>
              </a:highlight>
            </a:endParaRPr>
          </a:p>
        </p:txBody>
      </p:sp>
      <p:grpSp>
        <p:nvGrpSpPr>
          <p:cNvPr id="39" name="Group 38">
            <a:extLst>
              <a:ext uri="{FF2B5EF4-FFF2-40B4-BE49-F238E27FC236}">
                <a16:creationId xmlns:a16="http://schemas.microsoft.com/office/drawing/2014/main" id="{B2F3F13B-C7D2-F55D-2CF8-318A8DEC2CED}"/>
              </a:ext>
            </a:extLst>
          </p:cNvPr>
          <p:cNvGrpSpPr/>
          <p:nvPr/>
        </p:nvGrpSpPr>
        <p:grpSpPr>
          <a:xfrm>
            <a:off x="6700308" y="5262527"/>
            <a:ext cx="1988609" cy="155503"/>
            <a:chOff x="6700308" y="5293007"/>
            <a:chExt cx="1988609" cy="155503"/>
          </a:xfrm>
        </p:grpSpPr>
        <p:sp>
          <p:nvSpPr>
            <p:cNvPr id="85" name="TextBox 84">
              <a:extLst>
                <a:ext uri="{FF2B5EF4-FFF2-40B4-BE49-F238E27FC236}">
                  <a16:creationId xmlns:a16="http://schemas.microsoft.com/office/drawing/2014/main" id="{052EF18E-5CED-24BE-2AB7-681F43E8A7C2}"/>
                </a:ext>
              </a:extLst>
            </p:cNvPr>
            <p:cNvSpPr txBox="1"/>
            <p:nvPr/>
          </p:nvSpPr>
          <p:spPr>
            <a:xfrm>
              <a:off x="6921077" y="5293007"/>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Plymouth</a:t>
              </a:r>
            </a:p>
          </p:txBody>
        </p:sp>
        <p:sp>
          <p:nvSpPr>
            <p:cNvPr id="86" name="Rectangle: Rounded Corners 85">
              <a:extLst>
                <a:ext uri="{FF2B5EF4-FFF2-40B4-BE49-F238E27FC236}">
                  <a16:creationId xmlns:a16="http://schemas.microsoft.com/office/drawing/2014/main" id="{B18EC42C-798E-388C-003F-5A553E6839CD}"/>
                </a:ext>
              </a:extLst>
            </p:cNvPr>
            <p:cNvSpPr/>
            <p:nvPr/>
          </p:nvSpPr>
          <p:spPr>
            <a:xfrm>
              <a:off x="6700308" y="5331882"/>
              <a:ext cx="182880" cy="77752"/>
            </a:xfrm>
            <a:prstGeom prst="roundRect">
              <a:avLst/>
            </a:prstGeom>
            <a:solidFill>
              <a:schemeClr val="accent5"/>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sp>
        <p:nvSpPr>
          <p:cNvPr id="96" name="TextBox 95">
            <a:extLst>
              <a:ext uri="{FF2B5EF4-FFF2-40B4-BE49-F238E27FC236}">
                <a16:creationId xmlns:a16="http://schemas.microsoft.com/office/drawing/2014/main" id="{48381BF2-7B2B-3E01-9EC2-79FB142F3208}"/>
              </a:ext>
            </a:extLst>
          </p:cNvPr>
          <p:cNvSpPr txBox="1"/>
          <p:nvPr/>
        </p:nvSpPr>
        <p:spPr>
          <a:xfrm>
            <a:off x="6921077" y="5535231"/>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endParaRPr lang="en-US" sz="900" dirty="0"/>
          </a:p>
        </p:txBody>
      </p:sp>
      <p:grpSp>
        <p:nvGrpSpPr>
          <p:cNvPr id="30" name="Group 29">
            <a:extLst>
              <a:ext uri="{FF2B5EF4-FFF2-40B4-BE49-F238E27FC236}">
                <a16:creationId xmlns:a16="http://schemas.microsoft.com/office/drawing/2014/main" id="{E87C45DD-FDC0-A808-8914-B1D1145B3892}"/>
              </a:ext>
            </a:extLst>
          </p:cNvPr>
          <p:cNvGrpSpPr/>
          <p:nvPr/>
        </p:nvGrpSpPr>
        <p:grpSpPr>
          <a:xfrm>
            <a:off x="6699532" y="5696180"/>
            <a:ext cx="1992306" cy="155503"/>
            <a:chOff x="6699532" y="5726660"/>
            <a:chExt cx="1992306" cy="155503"/>
          </a:xfrm>
        </p:grpSpPr>
        <p:sp>
          <p:nvSpPr>
            <p:cNvPr id="98" name="TextBox 97">
              <a:extLst>
                <a:ext uri="{FF2B5EF4-FFF2-40B4-BE49-F238E27FC236}">
                  <a16:creationId xmlns:a16="http://schemas.microsoft.com/office/drawing/2014/main" id="{3C9BDCBA-C25C-9CA0-A602-DB0348FE5F34}"/>
                </a:ext>
              </a:extLst>
            </p:cNvPr>
            <p:cNvSpPr txBox="1"/>
            <p:nvPr/>
          </p:nvSpPr>
          <p:spPr>
            <a:xfrm>
              <a:off x="6923998" y="5726660"/>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Wareham</a:t>
              </a:r>
            </a:p>
          </p:txBody>
        </p:sp>
        <p:sp>
          <p:nvSpPr>
            <p:cNvPr id="99" name="Rectangle: Rounded Corners 98">
              <a:extLst>
                <a:ext uri="{FF2B5EF4-FFF2-40B4-BE49-F238E27FC236}">
                  <a16:creationId xmlns:a16="http://schemas.microsoft.com/office/drawing/2014/main" id="{31AEC03D-A502-B267-D257-154CD216CF23}"/>
                </a:ext>
              </a:extLst>
            </p:cNvPr>
            <p:cNvSpPr/>
            <p:nvPr/>
          </p:nvSpPr>
          <p:spPr>
            <a:xfrm>
              <a:off x="6699532" y="5763831"/>
              <a:ext cx="182880" cy="77752"/>
            </a:xfrm>
            <a:prstGeom prst="roundRect">
              <a:avLst/>
            </a:prstGeom>
            <a:solidFill>
              <a:srgbClr val="002060"/>
            </a:solidFill>
            <a:ln w="9525" cap="sq">
              <a:solidFill>
                <a:srgbClr val="00206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aphicFrame>
        <p:nvGraphicFramePr>
          <p:cNvPr id="59" name="Chart 58">
            <a:extLst>
              <a:ext uri="{FF2B5EF4-FFF2-40B4-BE49-F238E27FC236}">
                <a16:creationId xmlns:a16="http://schemas.microsoft.com/office/drawing/2014/main" id="{E2D8ED1B-7DD4-AFAE-4C65-6031A1FC5F3D}"/>
              </a:ext>
            </a:extLst>
          </p:cNvPr>
          <p:cNvGraphicFramePr/>
          <p:nvPr>
            <p:extLst>
              <p:ext uri="{D42A27DB-BD31-4B8C-83A1-F6EECF244321}">
                <p14:modId xmlns:p14="http://schemas.microsoft.com/office/powerpoint/2010/main" val="1195346270"/>
              </p:ext>
            </p:extLst>
          </p:nvPr>
        </p:nvGraphicFramePr>
        <p:xfrm>
          <a:off x="26274" y="1321028"/>
          <a:ext cx="4501468" cy="3902910"/>
        </p:xfrm>
        <a:graphic>
          <a:graphicData uri="http://schemas.openxmlformats.org/drawingml/2006/chart">
            <c:chart xmlns:c="http://schemas.openxmlformats.org/drawingml/2006/chart" xmlns:r="http://schemas.openxmlformats.org/officeDocument/2006/relationships" r:id="rId9"/>
          </a:graphicData>
        </a:graphic>
      </p:graphicFrame>
      <p:grpSp>
        <p:nvGrpSpPr>
          <p:cNvPr id="31" name="Group 30">
            <a:extLst>
              <a:ext uri="{FF2B5EF4-FFF2-40B4-BE49-F238E27FC236}">
                <a16:creationId xmlns:a16="http://schemas.microsoft.com/office/drawing/2014/main" id="{4F0EE9A0-B570-4478-53BE-BA1C82EDBD44}"/>
              </a:ext>
            </a:extLst>
          </p:cNvPr>
          <p:cNvGrpSpPr/>
          <p:nvPr/>
        </p:nvGrpSpPr>
        <p:grpSpPr>
          <a:xfrm>
            <a:off x="6700308" y="5479354"/>
            <a:ext cx="1988609" cy="155503"/>
            <a:chOff x="6700308" y="5504751"/>
            <a:chExt cx="1988609" cy="155503"/>
          </a:xfrm>
        </p:grpSpPr>
        <p:sp>
          <p:nvSpPr>
            <p:cNvPr id="2" name="TextBox 1">
              <a:extLst>
                <a:ext uri="{FF2B5EF4-FFF2-40B4-BE49-F238E27FC236}">
                  <a16:creationId xmlns:a16="http://schemas.microsoft.com/office/drawing/2014/main" id="{E1F778CE-F002-4609-D516-6D985F42CD40}"/>
                </a:ext>
              </a:extLst>
            </p:cNvPr>
            <p:cNvSpPr txBox="1"/>
            <p:nvPr/>
          </p:nvSpPr>
          <p:spPr>
            <a:xfrm>
              <a:off x="6921077" y="5504751"/>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Provincetown</a:t>
              </a:r>
            </a:p>
          </p:txBody>
        </p:sp>
        <p:sp>
          <p:nvSpPr>
            <p:cNvPr id="5" name="Rectangle: Rounded Corners 4">
              <a:extLst>
                <a:ext uri="{FF2B5EF4-FFF2-40B4-BE49-F238E27FC236}">
                  <a16:creationId xmlns:a16="http://schemas.microsoft.com/office/drawing/2014/main" id="{A0C01501-E4E8-EA18-622B-4526486E9696}"/>
                </a:ext>
              </a:extLst>
            </p:cNvPr>
            <p:cNvSpPr/>
            <p:nvPr/>
          </p:nvSpPr>
          <p:spPr>
            <a:xfrm>
              <a:off x="6700308" y="5543626"/>
              <a:ext cx="182880" cy="77752"/>
            </a:xfrm>
            <a:prstGeom prst="roundRect">
              <a:avLst/>
            </a:prstGeom>
            <a:solidFill>
              <a:schemeClr val="accent6"/>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3" name="Group 12">
            <a:extLst>
              <a:ext uri="{FF2B5EF4-FFF2-40B4-BE49-F238E27FC236}">
                <a16:creationId xmlns:a16="http://schemas.microsoft.com/office/drawing/2014/main" id="{A1F48540-321D-874E-7A5F-16BD784BEB1D}"/>
              </a:ext>
            </a:extLst>
          </p:cNvPr>
          <p:cNvGrpSpPr/>
          <p:nvPr/>
        </p:nvGrpSpPr>
        <p:grpSpPr>
          <a:xfrm>
            <a:off x="4708670" y="5277406"/>
            <a:ext cx="1977183" cy="809754"/>
            <a:chOff x="471950" y="5302806"/>
            <a:chExt cx="1977183" cy="809754"/>
          </a:xfrm>
        </p:grpSpPr>
        <p:grpSp>
          <p:nvGrpSpPr>
            <p:cNvPr id="14" name="Group 13">
              <a:extLst>
                <a:ext uri="{FF2B5EF4-FFF2-40B4-BE49-F238E27FC236}">
                  <a16:creationId xmlns:a16="http://schemas.microsoft.com/office/drawing/2014/main" id="{7FA112AC-6D9C-1547-659C-C232BDC1A1DC}"/>
                </a:ext>
              </a:extLst>
            </p:cNvPr>
            <p:cNvGrpSpPr/>
            <p:nvPr/>
          </p:nvGrpSpPr>
          <p:grpSpPr>
            <a:xfrm>
              <a:off x="471950" y="5302806"/>
              <a:ext cx="1977183" cy="155503"/>
              <a:chOff x="464330" y="5287566"/>
              <a:chExt cx="1977183" cy="155503"/>
            </a:xfrm>
          </p:grpSpPr>
          <p:sp>
            <p:nvSpPr>
              <p:cNvPr id="28" name="TextBox 27">
                <a:extLst>
                  <a:ext uri="{FF2B5EF4-FFF2-40B4-BE49-F238E27FC236}">
                    <a16:creationId xmlns:a16="http://schemas.microsoft.com/office/drawing/2014/main" id="{1EFA35BC-ACA5-C106-0D82-562A3FB3DA72}"/>
                  </a:ext>
                </a:extLst>
              </p:cNvPr>
              <p:cNvSpPr txBox="1"/>
              <p:nvPr/>
            </p:nvSpPr>
            <p:spPr>
              <a:xfrm>
                <a:off x="673673" y="5287566"/>
                <a:ext cx="1767840" cy="15550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900" dirty="0"/>
                  <a:t>Brockton</a:t>
                </a:r>
              </a:p>
            </p:txBody>
          </p:sp>
          <p:sp>
            <p:nvSpPr>
              <p:cNvPr id="29" name="Rectangle: Rounded Corners 28">
                <a:extLst>
                  <a:ext uri="{FF2B5EF4-FFF2-40B4-BE49-F238E27FC236}">
                    <a16:creationId xmlns:a16="http://schemas.microsoft.com/office/drawing/2014/main" id="{463A59FD-0E92-5412-533A-A4E0ADE1D647}"/>
                  </a:ext>
                </a:extLst>
              </p:cNvPr>
              <p:cNvSpPr/>
              <p:nvPr/>
            </p:nvSpPr>
            <p:spPr>
              <a:xfrm>
                <a:off x="464330" y="5326441"/>
                <a:ext cx="182880" cy="77752"/>
              </a:xfrm>
              <a:prstGeom prst="roundRect">
                <a:avLst/>
              </a:prstGeom>
              <a:solidFill>
                <a:schemeClr val="accen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5" name="Group 14">
              <a:extLst>
                <a:ext uri="{FF2B5EF4-FFF2-40B4-BE49-F238E27FC236}">
                  <a16:creationId xmlns:a16="http://schemas.microsoft.com/office/drawing/2014/main" id="{5F97691B-8322-6076-F5CE-C4DD376176FA}"/>
                </a:ext>
              </a:extLst>
            </p:cNvPr>
            <p:cNvGrpSpPr/>
            <p:nvPr/>
          </p:nvGrpSpPr>
          <p:grpSpPr>
            <a:xfrm>
              <a:off x="471950" y="5520890"/>
              <a:ext cx="1977183" cy="155503"/>
              <a:chOff x="464330" y="5287566"/>
              <a:chExt cx="1977183" cy="155503"/>
            </a:xfrm>
          </p:grpSpPr>
          <p:sp>
            <p:nvSpPr>
              <p:cNvPr id="25" name="TextBox 24">
                <a:extLst>
                  <a:ext uri="{FF2B5EF4-FFF2-40B4-BE49-F238E27FC236}">
                    <a16:creationId xmlns:a16="http://schemas.microsoft.com/office/drawing/2014/main" id="{DBBCC9B8-462E-6C1A-D79B-AD10DB13DEE2}"/>
                  </a:ext>
                </a:extLst>
              </p:cNvPr>
              <p:cNvSpPr txBox="1"/>
              <p:nvPr/>
            </p:nvSpPr>
            <p:spPr>
              <a:xfrm>
                <a:off x="673673" y="528756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Fall River</a:t>
                </a:r>
              </a:p>
            </p:txBody>
          </p:sp>
          <p:sp>
            <p:nvSpPr>
              <p:cNvPr id="26" name="Rectangle: Rounded Corners 25">
                <a:extLst>
                  <a:ext uri="{FF2B5EF4-FFF2-40B4-BE49-F238E27FC236}">
                    <a16:creationId xmlns:a16="http://schemas.microsoft.com/office/drawing/2014/main" id="{BC6657FA-6DA6-B0CB-C3D8-8EE2BC9A2D88}"/>
                  </a:ext>
                </a:extLst>
              </p:cNvPr>
              <p:cNvSpPr/>
              <p:nvPr/>
            </p:nvSpPr>
            <p:spPr>
              <a:xfrm>
                <a:off x="464330" y="5326441"/>
                <a:ext cx="182880" cy="77752"/>
              </a:xfrm>
              <a:prstGeom prst="roundRect">
                <a:avLst/>
              </a:prstGeom>
              <a:solidFill>
                <a:schemeClr val="accent2"/>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7" name="Group 16">
              <a:extLst>
                <a:ext uri="{FF2B5EF4-FFF2-40B4-BE49-F238E27FC236}">
                  <a16:creationId xmlns:a16="http://schemas.microsoft.com/office/drawing/2014/main" id="{3B71BB33-B175-B516-BF92-E2F6B63C18D1}"/>
                </a:ext>
              </a:extLst>
            </p:cNvPr>
            <p:cNvGrpSpPr/>
            <p:nvPr/>
          </p:nvGrpSpPr>
          <p:grpSpPr>
            <a:xfrm>
              <a:off x="471950" y="5738974"/>
              <a:ext cx="1977183" cy="155503"/>
              <a:chOff x="464330" y="5287566"/>
              <a:chExt cx="1977183" cy="155503"/>
            </a:xfrm>
          </p:grpSpPr>
          <p:sp>
            <p:nvSpPr>
              <p:cNvPr id="23" name="TextBox 22">
                <a:extLst>
                  <a:ext uri="{FF2B5EF4-FFF2-40B4-BE49-F238E27FC236}">
                    <a16:creationId xmlns:a16="http://schemas.microsoft.com/office/drawing/2014/main" id="{A358FC67-DDB5-7B33-51E3-B6E01B769F55}"/>
                  </a:ext>
                </a:extLst>
              </p:cNvPr>
              <p:cNvSpPr txBox="1"/>
              <p:nvPr/>
            </p:nvSpPr>
            <p:spPr>
              <a:xfrm>
                <a:off x="673673" y="528756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Hull</a:t>
                </a:r>
              </a:p>
            </p:txBody>
          </p:sp>
          <p:sp>
            <p:nvSpPr>
              <p:cNvPr id="24" name="Rectangle: Rounded Corners 23">
                <a:extLst>
                  <a:ext uri="{FF2B5EF4-FFF2-40B4-BE49-F238E27FC236}">
                    <a16:creationId xmlns:a16="http://schemas.microsoft.com/office/drawing/2014/main" id="{AAE6D942-76D8-EA24-13AB-2423A0A6C907}"/>
                  </a:ext>
                </a:extLst>
              </p:cNvPr>
              <p:cNvSpPr/>
              <p:nvPr/>
            </p:nvSpPr>
            <p:spPr>
              <a:xfrm>
                <a:off x="464330" y="5326441"/>
                <a:ext cx="182880" cy="77752"/>
              </a:xfrm>
              <a:prstGeom prst="roundRect">
                <a:avLst/>
              </a:prstGeom>
              <a:solidFill>
                <a:srgbClr val="00B050"/>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9" name="Group 18">
              <a:extLst>
                <a:ext uri="{FF2B5EF4-FFF2-40B4-BE49-F238E27FC236}">
                  <a16:creationId xmlns:a16="http://schemas.microsoft.com/office/drawing/2014/main" id="{9BF02C66-91EC-C965-1C95-33D40319980A}"/>
                </a:ext>
              </a:extLst>
            </p:cNvPr>
            <p:cNvGrpSpPr/>
            <p:nvPr/>
          </p:nvGrpSpPr>
          <p:grpSpPr>
            <a:xfrm>
              <a:off x="471950" y="5957057"/>
              <a:ext cx="1977183" cy="155503"/>
              <a:chOff x="-1525055" y="5944920"/>
              <a:chExt cx="1977183" cy="155503"/>
            </a:xfrm>
          </p:grpSpPr>
          <p:sp>
            <p:nvSpPr>
              <p:cNvPr id="20" name="TextBox 19">
                <a:extLst>
                  <a:ext uri="{FF2B5EF4-FFF2-40B4-BE49-F238E27FC236}">
                    <a16:creationId xmlns:a16="http://schemas.microsoft.com/office/drawing/2014/main" id="{33D93114-05BF-A908-6790-42A969C8A117}"/>
                  </a:ext>
                </a:extLst>
              </p:cNvPr>
              <p:cNvSpPr txBox="1"/>
              <p:nvPr/>
            </p:nvSpPr>
            <p:spPr>
              <a:xfrm>
                <a:off x="-1315712" y="5944920"/>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New Bedford</a:t>
                </a:r>
              </a:p>
            </p:txBody>
          </p:sp>
          <p:sp>
            <p:nvSpPr>
              <p:cNvPr id="21" name="Rectangle: Rounded Corners 20">
                <a:extLst>
                  <a:ext uri="{FF2B5EF4-FFF2-40B4-BE49-F238E27FC236}">
                    <a16:creationId xmlns:a16="http://schemas.microsoft.com/office/drawing/2014/main" id="{7E99167E-94E5-CBF4-F4F7-C7A9D6912D76}"/>
                  </a:ext>
                </a:extLst>
              </p:cNvPr>
              <p:cNvSpPr/>
              <p:nvPr/>
            </p:nvSpPr>
            <p:spPr>
              <a:xfrm>
                <a:off x="-1525055" y="5983795"/>
                <a:ext cx="182880" cy="77752"/>
              </a:xfrm>
              <a:prstGeom prst="roundRect">
                <a:avLst/>
              </a:prstGeom>
              <a:solidFill>
                <a:srgbClr val="F339DD"/>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spTree>
    <p:extLst>
      <p:ext uri="{BB962C8B-B14F-4D97-AF65-F5344CB8AC3E}">
        <p14:creationId xmlns:p14="http://schemas.microsoft.com/office/powerpoint/2010/main" val="37415377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D3852954-53CB-437D-9ABC-B8037C0C65F8}"/>
              </a:ext>
            </a:extLst>
          </p:cNvPr>
          <p:cNvGraphicFramePr>
            <a:graphicFrameLocks noChangeAspect="1"/>
          </p:cNvGraphicFramePr>
          <p:nvPr>
            <p:custDataLst>
              <p:tags r:id="rId1"/>
            </p:custDataLst>
          </p:nvPr>
        </p:nvGraphicFramePr>
        <p:xfrm>
          <a:off x="1486" y="858580"/>
          <a:ext cx="1214" cy="1214"/>
        </p:xfrm>
        <a:graphic>
          <a:graphicData uri="http://schemas.openxmlformats.org/presentationml/2006/ole">
            <mc:AlternateContent xmlns:mc="http://schemas.openxmlformats.org/markup-compatibility/2006">
              <mc:Choice xmlns:v="urn:schemas-microsoft-com:vml" Requires="v">
                <p:oleObj name="think-cell Slide" r:id="rId6" imgW="526" imgH="526" progId="TCLayout.ActiveDocument.1">
                  <p:embed/>
                </p:oleObj>
              </mc:Choice>
              <mc:Fallback>
                <p:oleObj name="think-cell Slide" r:id="rId6" imgW="526" imgH="526" progId="TCLayout.ActiveDocument.1">
                  <p:embed/>
                  <p:pic>
                    <p:nvPicPr>
                      <p:cNvPr id="18" name="Object 17" hidden="1">
                        <a:extLst>
                          <a:ext uri="{FF2B5EF4-FFF2-40B4-BE49-F238E27FC236}">
                            <a16:creationId xmlns:a16="http://schemas.microsoft.com/office/drawing/2014/main" id="{D3852954-53CB-437D-9ABC-B8037C0C65F8}"/>
                          </a:ext>
                        </a:extLst>
                      </p:cNvPr>
                      <p:cNvPicPr/>
                      <p:nvPr/>
                    </p:nvPicPr>
                    <p:blipFill>
                      <a:blip r:embed="rId7"/>
                      <a:stretch>
                        <a:fillRect/>
                      </a:stretch>
                    </p:blipFill>
                    <p:spPr>
                      <a:xfrm>
                        <a:off x="1486" y="858580"/>
                        <a:ext cx="1214" cy="1214"/>
                      </a:xfrm>
                      <a:prstGeom prst="rect">
                        <a:avLst/>
                      </a:prstGeom>
                    </p:spPr>
                  </p:pic>
                </p:oleObj>
              </mc:Fallback>
            </mc:AlternateContent>
          </a:graphicData>
        </a:graphic>
      </p:graphicFrame>
      <p:sp>
        <p:nvSpPr>
          <p:cNvPr id="22" name="Rectangle 21" hidden="1">
            <a:extLst>
              <a:ext uri="{FF2B5EF4-FFF2-40B4-BE49-F238E27FC236}">
                <a16:creationId xmlns:a16="http://schemas.microsoft.com/office/drawing/2014/main" id="{155BE234-10F7-4CE6-96BD-6AE8DFCE085D}"/>
              </a:ext>
            </a:extLst>
          </p:cNvPr>
          <p:cNvSpPr/>
          <p:nvPr>
            <p:custDataLst>
              <p:tags r:id="rId2"/>
            </p:custDataLst>
          </p:nvPr>
        </p:nvSpPr>
        <p:spPr>
          <a:xfrm>
            <a:off x="271" y="857365"/>
            <a:ext cx="121475" cy="121475"/>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err="1">
              <a:ln>
                <a:noFill/>
              </a:ln>
              <a:solidFill>
                <a:srgbClr val="000000"/>
              </a:solidFill>
              <a:effectLst/>
              <a:uLnTx/>
              <a:uFillTx/>
              <a:latin typeface="Arial"/>
              <a:ea typeface="+mn-ea"/>
              <a:cs typeface="Arial" panose="020B0604020202020204" pitchFamily="34" charset="0"/>
              <a:sym typeface="+mn-lt"/>
            </a:endParaRPr>
          </a:p>
        </p:txBody>
      </p:sp>
      <p:sp>
        <p:nvSpPr>
          <p:cNvPr id="27" name="2. Slide Title">
            <a:extLst>
              <a:ext uri="{FF2B5EF4-FFF2-40B4-BE49-F238E27FC236}">
                <a16:creationId xmlns:a16="http://schemas.microsoft.com/office/drawing/2014/main" id="{DB3FF784-AD93-4005-BFCD-09C0D4CFADF8}"/>
              </a:ext>
            </a:extLst>
          </p:cNvPr>
          <p:cNvSpPr>
            <a:spLocks noGrp="1"/>
          </p:cNvSpPr>
          <p:nvPr>
            <p:ph type="title"/>
            <p:custDataLst>
              <p:tags r:id="rId3"/>
            </p:custDataLst>
          </p:nvPr>
        </p:nvSpPr>
        <p:spPr>
          <a:xfrm>
            <a:off x="416052" y="173736"/>
            <a:ext cx="8311896" cy="338554"/>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r>
              <a:rPr lang="en-CA" dirty="0"/>
              <a:t>Wastewater surveillance across MA treatment plants</a:t>
            </a:r>
          </a:p>
        </p:txBody>
      </p:sp>
      <p:sp>
        <p:nvSpPr>
          <p:cNvPr id="55" name="Sticker">
            <a:extLst>
              <a:ext uri="{FF2B5EF4-FFF2-40B4-BE49-F238E27FC236}">
                <a16:creationId xmlns:a16="http://schemas.microsoft.com/office/drawing/2014/main" id="{4060F086-018D-4FE8-B182-1ED99D95F42C}"/>
              </a:ext>
            </a:extLst>
          </p:cNvPr>
          <p:cNvSpPr txBox="1"/>
          <p:nvPr/>
        </p:nvSpPr>
        <p:spPr>
          <a:xfrm>
            <a:off x="416052" y="556544"/>
            <a:ext cx="2376575" cy="123111"/>
          </a:xfrm>
          <a:prstGeom prst="rect">
            <a:avLst/>
          </a:prstGeom>
          <a:noFill/>
          <a:ln w="6350">
            <a:noFill/>
            <a:miter lim="800000"/>
          </a:ln>
        </p:spPr>
        <p:txBody>
          <a:bodyPr vert="horz" wrap="square" lIns="0" tIns="0" rIns="0" bIns="0" rtlCol="0" anchor="t">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0" i="0" u="none" strike="noStrike" kern="1200" cap="all" spc="0" normalizeH="0" baseline="0" noProof="0" dirty="0">
                <a:ln>
                  <a:noFill/>
                </a:ln>
                <a:solidFill>
                  <a:srgbClr val="000000"/>
                </a:solidFill>
                <a:effectLst/>
                <a:uLnTx/>
                <a:uFillTx/>
                <a:latin typeface="Arial"/>
                <a:ea typeface="+mn-ea"/>
                <a:cs typeface="+mn-cs"/>
              </a:rPr>
              <a:t>LAST UPDATED ON September </a:t>
            </a:r>
            <a:r>
              <a:rPr lang="en-US" b="0" dirty="0">
                <a:solidFill>
                  <a:srgbClr val="000000"/>
                </a:solidFill>
                <a:latin typeface="Arial"/>
              </a:rPr>
              <a:t>28</a:t>
            </a:r>
            <a:r>
              <a:rPr kumimoji="0" lang="en-US" sz="800" b="0" i="0" u="none" strike="noStrike" kern="1200" cap="all" spc="0" normalizeH="0" baseline="0" noProof="0" dirty="0">
                <a:ln>
                  <a:noFill/>
                </a:ln>
                <a:solidFill>
                  <a:srgbClr val="000000"/>
                </a:solidFill>
                <a:effectLst/>
                <a:uLnTx/>
                <a:uFillTx/>
                <a:latin typeface="Arial"/>
                <a:ea typeface="+mn-ea"/>
                <a:cs typeface="+mn-cs"/>
              </a:rPr>
              <a:t>, 2022</a:t>
            </a:r>
          </a:p>
        </p:txBody>
      </p:sp>
      <p:sp>
        <p:nvSpPr>
          <p:cNvPr id="33" name="TextBox 32">
            <a:extLst>
              <a:ext uri="{FF2B5EF4-FFF2-40B4-BE49-F238E27FC236}">
                <a16:creationId xmlns:a16="http://schemas.microsoft.com/office/drawing/2014/main" id="{E184365A-F166-4DE1-A88B-C72454F0C1DE}"/>
              </a:ext>
            </a:extLst>
          </p:cNvPr>
          <p:cNvSpPr txBox="1"/>
          <p:nvPr/>
        </p:nvSpPr>
        <p:spPr>
          <a:xfrm>
            <a:off x="374742" y="6146771"/>
            <a:ext cx="8596883" cy="507831"/>
          </a:xfrm>
          <a:prstGeom prst="rect">
            <a:avLst/>
          </a:prstGeom>
          <a:noFill/>
          <a:ln w="6350">
            <a:noFill/>
            <a:miter lim="800000"/>
          </a:ln>
        </p:spPr>
        <p:txBody>
          <a:bodyPr wrap="square">
            <a:spAutoFit/>
          </a:bodyPr>
          <a:lstStyle/>
          <a:p>
            <a:r>
              <a:rPr lang="en-US" sz="900" dirty="0"/>
              <a:t>Samples are currently taken 1 - 7 times a week and analyzed by Biobot Analytics, a wastewater epidemiology company based in Cambridge, MA. The graphs represent the “7-day averages” which are the average viral copies over the past 7 days in each treatment plant. </a:t>
            </a:r>
          </a:p>
          <a:p>
            <a:r>
              <a:rPr lang="en-US" sz="900" i="1" dirty="0"/>
              <a:t>MWRA data:  https://www.mwra.com/biobot/biobotdata.htm</a:t>
            </a:r>
          </a:p>
        </p:txBody>
      </p:sp>
      <p:grpSp>
        <p:nvGrpSpPr>
          <p:cNvPr id="19" name="Group 18">
            <a:extLst>
              <a:ext uri="{FF2B5EF4-FFF2-40B4-BE49-F238E27FC236}">
                <a16:creationId xmlns:a16="http://schemas.microsoft.com/office/drawing/2014/main" id="{F3AD75BB-BC84-34B9-5F09-323EF0403E38}"/>
              </a:ext>
            </a:extLst>
          </p:cNvPr>
          <p:cNvGrpSpPr/>
          <p:nvPr/>
        </p:nvGrpSpPr>
        <p:grpSpPr>
          <a:xfrm>
            <a:off x="33239" y="833362"/>
            <a:ext cx="4501468" cy="5191276"/>
            <a:chOff x="31162" y="833362"/>
            <a:chExt cx="4501468" cy="5191276"/>
          </a:xfrm>
        </p:grpSpPr>
        <p:grpSp>
          <p:nvGrpSpPr>
            <p:cNvPr id="7" name="Group 6">
              <a:extLst>
                <a:ext uri="{FF2B5EF4-FFF2-40B4-BE49-F238E27FC236}">
                  <a16:creationId xmlns:a16="http://schemas.microsoft.com/office/drawing/2014/main" id="{4A303FC3-63FB-3547-EEFB-3679E275304B}"/>
                </a:ext>
              </a:extLst>
            </p:cNvPr>
            <p:cNvGrpSpPr/>
            <p:nvPr/>
          </p:nvGrpSpPr>
          <p:grpSpPr>
            <a:xfrm>
              <a:off x="420189" y="833362"/>
              <a:ext cx="4054765" cy="5191276"/>
              <a:chOff x="416051" y="1177325"/>
              <a:chExt cx="4054765" cy="4843316"/>
            </a:xfrm>
          </p:grpSpPr>
          <p:sp>
            <p:nvSpPr>
              <p:cNvPr id="3" name="Rectangle 2">
                <a:extLst>
                  <a:ext uri="{FF2B5EF4-FFF2-40B4-BE49-F238E27FC236}">
                    <a16:creationId xmlns:a16="http://schemas.microsoft.com/office/drawing/2014/main" id="{12990877-6F79-A466-A3A3-3E3D26382FDA}"/>
                  </a:ext>
                </a:extLst>
              </p:cNvPr>
              <p:cNvSpPr/>
              <p:nvPr/>
            </p:nvSpPr>
            <p:spPr>
              <a:xfrm>
                <a:off x="416052" y="1177325"/>
                <a:ext cx="4054764" cy="4104097"/>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4" name="TextBox 3">
                <a:extLst>
                  <a:ext uri="{FF2B5EF4-FFF2-40B4-BE49-F238E27FC236}">
                    <a16:creationId xmlns:a16="http://schemas.microsoft.com/office/drawing/2014/main" id="{0D4394EC-E30C-6F74-1A9A-60A4B68F88B7}"/>
                  </a:ext>
                </a:extLst>
              </p:cNvPr>
              <p:cNvSpPr txBox="1"/>
              <p:nvPr/>
            </p:nvSpPr>
            <p:spPr>
              <a:xfrm>
                <a:off x="416051" y="1177325"/>
                <a:ext cx="4054764" cy="536990"/>
              </a:xfrm>
              <a:prstGeom prst="rect">
                <a:avLst/>
              </a:prstGeom>
              <a:solidFill>
                <a:schemeClr val="tx1"/>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Central MA 7-Day Averages</a:t>
                </a:r>
              </a:p>
              <a:p>
                <a:pPr algn="ctr">
                  <a:spcBef>
                    <a:spcPts val="300"/>
                  </a:spcBef>
                  <a:spcAft>
                    <a:spcPts val="300"/>
                  </a:spcAft>
                  <a:buNone/>
                </a:pPr>
                <a:r>
                  <a:rPr lang="en-US" sz="1200" dirty="0">
                    <a:solidFill>
                      <a:schemeClr val="bg1"/>
                    </a:solidFill>
                  </a:rPr>
                  <a:t>August 20, 2022 – September 26, 2022</a:t>
                </a:r>
              </a:p>
            </p:txBody>
          </p:sp>
          <p:sp>
            <p:nvSpPr>
              <p:cNvPr id="6" name="TextBox 5">
                <a:extLst>
                  <a:ext uri="{FF2B5EF4-FFF2-40B4-BE49-F238E27FC236}">
                    <a16:creationId xmlns:a16="http://schemas.microsoft.com/office/drawing/2014/main" id="{0D64BCC6-ECFF-34C6-0A0C-81B308A682ED}"/>
                  </a:ext>
                </a:extLst>
              </p:cNvPr>
              <p:cNvSpPr txBox="1"/>
              <p:nvPr/>
            </p:nvSpPr>
            <p:spPr>
              <a:xfrm>
                <a:off x="416052" y="5281422"/>
                <a:ext cx="4054763" cy="739219"/>
              </a:xfrm>
              <a:prstGeom prst="rect">
                <a:avLst/>
              </a:prstGeom>
              <a:solidFill>
                <a:schemeClr val="bg1">
                  <a:lumMod val="95000"/>
                </a:schemeClr>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endParaRPr lang="en-US" sz="1400" dirty="0">
                  <a:highlight>
                    <a:srgbClr val="FFFF00"/>
                  </a:highlight>
                </a:endParaRPr>
              </a:p>
            </p:txBody>
          </p:sp>
        </p:grpSp>
        <p:graphicFrame>
          <p:nvGraphicFramePr>
            <p:cNvPr id="61" name="Chart 60">
              <a:extLst>
                <a:ext uri="{FF2B5EF4-FFF2-40B4-BE49-F238E27FC236}">
                  <a16:creationId xmlns:a16="http://schemas.microsoft.com/office/drawing/2014/main" id="{C70BC727-0A87-C5A6-2B12-08B947A8B479}"/>
                </a:ext>
              </a:extLst>
            </p:cNvPr>
            <p:cNvGraphicFramePr/>
            <p:nvPr>
              <p:extLst>
                <p:ext uri="{D42A27DB-BD31-4B8C-83A1-F6EECF244321}">
                  <p14:modId xmlns:p14="http://schemas.microsoft.com/office/powerpoint/2010/main" val="3180911076"/>
                </p:ext>
              </p:extLst>
            </p:nvPr>
          </p:nvGraphicFramePr>
          <p:xfrm>
            <a:off x="31162" y="1329400"/>
            <a:ext cx="4501468" cy="3902910"/>
          </p:xfrm>
          <a:graphic>
            <a:graphicData uri="http://schemas.openxmlformats.org/drawingml/2006/chart">
              <c:chart xmlns:c="http://schemas.openxmlformats.org/drawingml/2006/chart" xmlns:r="http://schemas.openxmlformats.org/officeDocument/2006/relationships" r:id="rId8"/>
            </a:graphicData>
          </a:graphic>
        </p:graphicFrame>
      </p:grpSp>
      <p:grpSp>
        <p:nvGrpSpPr>
          <p:cNvPr id="53" name="Group 52">
            <a:extLst>
              <a:ext uri="{FF2B5EF4-FFF2-40B4-BE49-F238E27FC236}">
                <a16:creationId xmlns:a16="http://schemas.microsoft.com/office/drawing/2014/main" id="{918341B3-0F17-214A-4BAC-2EF7C2085C50}"/>
              </a:ext>
            </a:extLst>
          </p:cNvPr>
          <p:cNvGrpSpPr/>
          <p:nvPr/>
        </p:nvGrpSpPr>
        <p:grpSpPr>
          <a:xfrm>
            <a:off x="4268390" y="833362"/>
            <a:ext cx="4501468" cy="5191275"/>
            <a:chOff x="39290" y="833362"/>
            <a:chExt cx="4501468" cy="5191275"/>
          </a:xfrm>
        </p:grpSpPr>
        <p:grpSp>
          <p:nvGrpSpPr>
            <p:cNvPr id="54" name="Group 53">
              <a:extLst>
                <a:ext uri="{FF2B5EF4-FFF2-40B4-BE49-F238E27FC236}">
                  <a16:creationId xmlns:a16="http://schemas.microsoft.com/office/drawing/2014/main" id="{CA7121D5-483E-AF9E-84D8-EF4C43429128}"/>
                </a:ext>
              </a:extLst>
            </p:cNvPr>
            <p:cNvGrpSpPr/>
            <p:nvPr/>
          </p:nvGrpSpPr>
          <p:grpSpPr>
            <a:xfrm>
              <a:off x="420189" y="833362"/>
              <a:ext cx="4054765" cy="5191275"/>
              <a:chOff x="416051" y="1177325"/>
              <a:chExt cx="4054765" cy="4843316"/>
            </a:xfrm>
          </p:grpSpPr>
          <p:sp>
            <p:nvSpPr>
              <p:cNvPr id="79" name="Rectangle 78">
                <a:extLst>
                  <a:ext uri="{FF2B5EF4-FFF2-40B4-BE49-F238E27FC236}">
                    <a16:creationId xmlns:a16="http://schemas.microsoft.com/office/drawing/2014/main" id="{246BAA84-77C4-1ED6-76D1-1AA74A535853}"/>
                  </a:ext>
                </a:extLst>
              </p:cNvPr>
              <p:cNvSpPr/>
              <p:nvPr/>
            </p:nvSpPr>
            <p:spPr>
              <a:xfrm>
                <a:off x="416052" y="1177325"/>
                <a:ext cx="4054764" cy="4104097"/>
              </a:xfrm>
              <a:prstGeom prst="rect">
                <a:avLst/>
              </a:prstGeom>
              <a:noFill/>
              <a:ln w="6350"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80" name="TextBox 79">
                <a:extLst>
                  <a:ext uri="{FF2B5EF4-FFF2-40B4-BE49-F238E27FC236}">
                    <a16:creationId xmlns:a16="http://schemas.microsoft.com/office/drawing/2014/main" id="{7A80606D-E1A1-8EE5-E7A4-C155A41DCDC1}"/>
                  </a:ext>
                </a:extLst>
              </p:cNvPr>
              <p:cNvSpPr txBox="1"/>
              <p:nvPr/>
            </p:nvSpPr>
            <p:spPr>
              <a:xfrm>
                <a:off x="416051" y="1177325"/>
                <a:ext cx="4054764" cy="536990"/>
              </a:xfrm>
              <a:prstGeom prst="rect">
                <a:avLst/>
              </a:prstGeom>
              <a:solidFill>
                <a:schemeClr val="tx1"/>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r>
                  <a:rPr lang="en-US" sz="1400" b="1" dirty="0">
                    <a:solidFill>
                      <a:schemeClr val="bg1"/>
                    </a:solidFill>
                  </a:rPr>
                  <a:t>West MA 7-Day Averages</a:t>
                </a:r>
              </a:p>
              <a:p>
                <a:pPr algn="ctr">
                  <a:spcBef>
                    <a:spcPts val="300"/>
                  </a:spcBef>
                  <a:spcAft>
                    <a:spcPts val="300"/>
                  </a:spcAft>
                  <a:buNone/>
                </a:pPr>
                <a:r>
                  <a:rPr lang="en-US" sz="1200" dirty="0">
                    <a:solidFill>
                      <a:schemeClr val="bg1"/>
                    </a:solidFill>
                  </a:rPr>
                  <a:t>August 20, 2022 – September 26, 2022</a:t>
                </a:r>
              </a:p>
            </p:txBody>
          </p:sp>
          <p:sp>
            <p:nvSpPr>
              <p:cNvPr id="81" name="TextBox 80">
                <a:extLst>
                  <a:ext uri="{FF2B5EF4-FFF2-40B4-BE49-F238E27FC236}">
                    <a16:creationId xmlns:a16="http://schemas.microsoft.com/office/drawing/2014/main" id="{27CFF61E-C91E-A294-AAF8-6B62FA3C2352}"/>
                  </a:ext>
                </a:extLst>
              </p:cNvPr>
              <p:cNvSpPr txBox="1"/>
              <p:nvPr/>
            </p:nvSpPr>
            <p:spPr>
              <a:xfrm>
                <a:off x="416052" y="5281422"/>
                <a:ext cx="4054763" cy="739219"/>
              </a:xfrm>
              <a:prstGeom prst="rect">
                <a:avLst/>
              </a:prstGeom>
              <a:solidFill>
                <a:schemeClr val="bg1">
                  <a:lumMod val="95000"/>
                </a:schemeClr>
              </a:solidFill>
              <a:ln w="6350">
                <a:solidFill>
                  <a:schemeClr val="tx1"/>
                </a:solidFill>
                <a:miter lim="800000"/>
              </a:ln>
            </p:spPr>
            <p:txBody>
              <a:bodyPr vert="horz" wrap="square" lIns="0" tIns="0" rIns="0" bIns="0" rtlCol="0" anchor="ctr">
                <a:noAutofit/>
              </a:bodyPr>
              <a:lstStyle/>
              <a:p>
                <a:pPr algn="ctr">
                  <a:spcBef>
                    <a:spcPts val="300"/>
                  </a:spcBef>
                  <a:spcAft>
                    <a:spcPts val="300"/>
                  </a:spcAft>
                  <a:buNone/>
                </a:pPr>
                <a:endParaRPr lang="en-US" sz="1400" dirty="0">
                  <a:highlight>
                    <a:srgbClr val="FFFF00"/>
                  </a:highlight>
                </a:endParaRPr>
              </a:p>
            </p:txBody>
          </p:sp>
        </p:grpSp>
        <p:graphicFrame>
          <p:nvGraphicFramePr>
            <p:cNvPr id="56" name="Chart 55">
              <a:extLst>
                <a:ext uri="{FF2B5EF4-FFF2-40B4-BE49-F238E27FC236}">
                  <a16:creationId xmlns:a16="http://schemas.microsoft.com/office/drawing/2014/main" id="{F9977055-568F-013A-7D4D-C8CC754D74E1}"/>
                </a:ext>
              </a:extLst>
            </p:cNvPr>
            <p:cNvGraphicFramePr/>
            <p:nvPr>
              <p:extLst>
                <p:ext uri="{D42A27DB-BD31-4B8C-83A1-F6EECF244321}">
                  <p14:modId xmlns:p14="http://schemas.microsoft.com/office/powerpoint/2010/main" val="2281148721"/>
                </p:ext>
              </p:extLst>
            </p:nvPr>
          </p:nvGraphicFramePr>
          <p:xfrm>
            <a:off x="39290" y="1333781"/>
            <a:ext cx="4501468" cy="3902910"/>
          </p:xfrm>
          <a:graphic>
            <a:graphicData uri="http://schemas.openxmlformats.org/drawingml/2006/chart">
              <c:chart xmlns:c="http://schemas.openxmlformats.org/drawingml/2006/chart" xmlns:r="http://schemas.openxmlformats.org/officeDocument/2006/relationships" r:id="rId9"/>
            </a:graphicData>
          </a:graphic>
        </p:graphicFrame>
      </p:grpSp>
      <p:sp>
        <p:nvSpPr>
          <p:cNvPr id="45" name="Rectangle 44">
            <a:extLst>
              <a:ext uri="{FF2B5EF4-FFF2-40B4-BE49-F238E27FC236}">
                <a16:creationId xmlns:a16="http://schemas.microsoft.com/office/drawing/2014/main" id="{12F5C3E8-1126-B342-33FC-8E5C3E0D62EB}"/>
              </a:ext>
            </a:extLst>
          </p:cNvPr>
          <p:cNvSpPr/>
          <p:nvPr/>
        </p:nvSpPr>
        <p:spPr>
          <a:xfrm>
            <a:off x="355548" y="6627994"/>
            <a:ext cx="2046008" cy="230006"/>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nvGrpSpPr>
          <p:cNvPr id="2" name="Group 1">
            <a:extLst>
              <a:ext uri="{FF2B5EF4-FFF2-40B4-BE49-F238E27FC236}">
                <a16:creationId xmlns:a16="http://schemas.microsoft.com/office/drawing/2014/main" id="{F6F8AF9A-B4C4-A647-904B-E5AFCE5A5C3E}"/>
              </a:ext>
            </a:extLst>
          </p:cNvPr>
          <p:cNvGrpSpPr/>
          <p:nvPr/>
        </p:nvGrpSpPr>
        <p:grpSpPr>
          <a:xfrm>
            <a:off x="479693" y="5255195"/>
            <a:ext cx="1968545" cy="155503"/>
            <a:chOff x="479693" y="5255195"/>
            <a:chExt cx="1968545" cy="155503"/>
          </a:xfrm>
        </p:grpSpPr>
        <p:sp>
          <p:nvSpPr>
            <p:cNvPr id="77" name="TextBox 76">
              <a:extLst>
                <a:ext uri="{FF2B5EF4-FFF2-40B4-BE49-F238E27FC236}">
                  <a16:creationId xmlns:a16="http://schemas.microsoft.com/office/drawing/2014/main" id="{758334B5-14FC-8949-68D8-0F89FD2855A7}"/>
                </a:ext>
              </a:extLst>
            </p:cNvPr>
            <p:cNvSpPr txBox="1"/>
            <p:nvPr/>
          </p:nvSpPr>
          <p:spPr>
            <a:xfrm>
              <a:off x="680398" y="5255195"/>
              <a:ext cx="1767840" cy="15550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900" dirty="0"/>
                <a:t>Athol</a:t>
              </a:r>
            </a:p>
          </p:txBody>
        </p:sp>
        <p:sp>
          <p:nvSpPr>
            <p:cNvPr id="78" name="Rectangle: Rounded Corners 77">
              <a:extLst>
                <a:ext uri="{FF2B5EF4-FFF2-40B4-BE49-F238E27FC236}">
                  <a16:creationId xmlns:a16="http://schemas.microsoft.com/office/drawing/2014/main" id="{912B4AD4-D3ED-3D74-7AB2-47588DB40CA2}"/>
                </a:ext>
              </a:extLst>
            </p:cNvPr>
            <p:cNvSpPr/>
            <p:nvPr/>
          </p:nvSpPr>
          <p:spPr>
            <a:xfrm>
              <a:off x="479693" y="5294070"/>
              <a:ext cx="182880" cy="77752"/>
            </a:xfrm>
            <a:prstGeom prst="roundRect">
              <a:avLst/>
            </a:prstGeom>
            <a:solidFill>
              <a:schemeClr val="accen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sp>
        <p:nvSpPr>
          <p:cNvPr id="75" name="TextBox 74">
            <a:extLst>
              <a:ext uri="{FF2B5EF4-FFF2-40B4-BE49-F238E27FC236}">
                <a16:creationId xmlns:a16="http://schemas.microsoft.com/office/drawing/2014/main" id="{5D245732-91EF-4207-FE64-9A38364FA8A2}"/>
              </a:ext>
            </a:extLst>
          </p:cNvPr>
          <p:cNvSpPr txBox="1"/>
          <p:nvPr/>
        </p:nvSpPr>
        <p:spPr>
          <a:xfrm>
            <a:off x="697191" y="5482179"/>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endParaRPr lang="en-US" sz="900" dirty="0"/>
          </a:p>
        </p:txBody>
      </p:sp>
      <p:grpSp>
        <p:nvGrpSpPr>
          <p:cNvPr id="8" name="Group 7">
            <a:extLst>
              <a:ext uri="{FF2B5EF4-FFF2-40B4-BE49-F238E27FC236}">
                <a16:creationId xmlns:a16="http://schemas.microsoft.com/office/drawing/2014/main" id="{54C7CAE5-8A50-4F37-B1A8-19D2AE7B79FF}"/>
              </a:ext>
            </a:extLst>
          </p:cNvPr>
          <p:cNvGrpSpPr/>
          <p:nvPr/>
        </p:nvGrpSpPr>
        <p:grpSpPr>
          <a:xfrm>
            <a:off x="479693" y="5621535"/>
            <a:ext cx="1968545" cy="155503"/>
            <a:chOff x="479693" y="5622671"/>
            <a:chExt cx="1968545" cy="155503"/>
          </a:xfrm>
        </p:grpSpPr>
        <p:sp>
          <p:nvSpPr>
            <p:cNvPr id="73" name="TextBox 72">
              <a:extLst>
                <a:ext uri="{FF2B5EF4-FFF2-40B4-BE49-F238E27FC236}">
                  <a16:creationId xmlns:a16="http://schemas.microsoft.com/office/drawing/2014/main" id="{74C4BD77-D253-7905-CED6-3F9317683859}"/>
                </a:ext>
              </a:extLst>
            </p:cNvPr>
            <p:cNvSpPr txBox="1"/>
            <p:nvPr/>
          </p:nvSpPr>
          <p:spPr>
            <a:xfrm>
              <a:off x="680398" y="5622671"/>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East Fitchburg</a:t>
              </a:r>
            </a:p>
          </p:txBody>
        </p:sp>
        <p:sp>
          <p:nvSpPr>
            <p:cNvPr id="74" name="Rectangle: Rounded Corners 73">
              <a:extLst>
                <a:ext uri="{FF2B5EF4-FFF2-40B4-BE49-F238E27FC236}">
                  <a16:creationId xmlns:a16="http://schemas.microsoft.com/office/drawing/2014/main" id="{2B26C60E-7A96-97D3-0446-06C75C1D4DFF}"/>
                </a:ext>
              </a:extLst>
            </p:cNvPr>
            <p:cNvSpPr/>
            <p:nvPr/>
          </p:nvSpPr>
          <p:spPr>
            <a:xfrm>
              <a:off x="479693" y="5661546"/>
              <a:ext cx="182880" cy="77752"/>
            </a:xfrm>
            <a:prstGeom prst="roundRect">
              <a:avLst/>
            </a:prstGeom>
            <a:solidFill>
              <a:srgbClr val="00B050"/>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60" name="Group 59">
            <a:extLst>
              <a:ext uri="{FF2B5EF4-FFF2-40B4-BE49-F238E27FC236}">
                <a16:creationId xmlns:a16="http://schemas.microsoft.com/office/drawing/2014/main" id="{42A4D51B-4EB1-7821-C60C-33C118FD05EC}"/>
              </a:ext>
            </a:extLst>
          </p:cNvPr>
          <p:cNvGrpSpPr/>
          <p:nvPr/>
        </p:nvGrpSpPr>
        <p:grpSpPr>
          <a:xfrm>
            <a:off x="2481824" y="5268256"/>
            <a:ext cx="1980212" cy="155503"/>
            <a:chOff x="467360" y="5076746"/>
            <a:chExt cx="1980212" cy="155503"/>
          </a:xfrm>
        </p:grpSpPr>
        <p:sp>
          <p:nvSpPr>
            <p:cNvPr id="69" name="TextBox 68">
              <a:extLst>
                <a:ext uri="{FF2B5EF4-FFF2-40B4-BE49-F238E27FC236}">
                  <a16:creationId xmlns:a16="http://schemas.microsoft.com/office/drawing/2014/main" id="{D011D84D-CE77-37C1-97FD-DE0DF9B29821}"/>
                </a:ext>
              </a:extLst>
            </p:cNvPr>
            <p:cNvSpPr txBox="1"/>
            <p:nvPr/>
          </p:nvSpPr>
          <p:spPr>
            <a:xfrm>
              <a:off x="679732" y="507674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North Brookfield</a:t>
              </a:r>
            </a:p>
          </p:txBody>
        </p:sp>
        <p:sp>
          <p:nvSpPr>
            <p:cNvPr id="70" name="Rectangle: Rounded Corners 69">
              <a:extLst>
                <a:ext uri="{FF2B5EF4-FFF2-40B4-BE49-F238E27FC236}">
                  <a16:creationId xmlns:a16="http://schemas.microsoft.com/office/drawing/2014/main" id="{A39E4CC9-79B3-C31A-668E-B6DB1B6AF4B6}"/>
                </a:ext>
              </a:extLst>
            </p:cNvPr>
            <p:cNvSpPr/>
            <p:nvPr/>
          </p:nvSpPr>
          <p:spPr>
            <a:xfrm>
              <a:off x="467360" y="5115621"/>
              <a:ext cx="182880" cy="77752"/>
            </a:xfrm>
            <a:prstGeom prst="roundRect">
              <a:avLst/>
            </a:prstGeom>
            <a:solidFill>
              <a:schemeClr val="accent5"/>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1" name="Group 10">
            <a:extLst>
              <a:ext uri="{FF2B5EF4-FFF2-40B4-BE49-F238E27FC236}">
                <a16:creationId xmlns:a16="http://schemas.microsoft.com/office/drawing/2014/main" id="{FBD5B8D9-50CC-2945-69F0-E73AEE2A8AD8}"/>
              </a:ext>
            </a:extLst>
          </p:cNvPr>
          <p:cNvGrpSpPr/>
          <p:nvPr/>
        </p:nvGrpSpPr>
        <p:grpSpPr>
          <a:xfrm>
            <a:off x="2481824" y="5488080"/>
            <a:ext cx="1980212" cy="155503"/>
            <a:chOff x="2481824" y="5495240"/>
            <a:chExt cx="1980212" cy="155503"/>
          </a:xfrm>
        </p:grpSpPr>
        <p:sp>
          <p:nvSpPr>
            <p:cNvPr id="67" name="TextBox 66">
              <a:extLst>
                <a:ext uri="{FF2B5EF4-FFF2-40B4-BE49-F238E27FC236}">
                  <a16:creationId xmlns:a16="http://schemas.microsoft.com/office/drawing/2014/main" id="{615084B6-4A84-7A72-216F-73F8863575F9}"/>
                </a:ext>
              </a:extLst>
            </p:cNvPr>
            <p:cNvSpPr txBox="1"/>
            <p:nvPr/>
          </p:nvSpPr>
          <p:spPr>
            <a:xfrm>
              <a:off x="2694196" y="5495240"/>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Upper Blackstone</a:t>
              </a:r>
            </a:p>
          </p:txBody>
        </p:sp>
        <p:sp>
          <p:nvSpPr>
            <p:cNvPr id="68" name="Rectangle: Rounded Corners 67">
              <a:extLst>
                <a:ext uri="{FF2B5EF4-FFF2-40B4-BE49-F238E27FC236}">
                  <a16:creationId xmlns:a16="http://schemas.microsoft.com/office/drawing/2014/main" id="{8AC4E05C-BDD4-ED33-9061-8A5275D5CAFD}"/>
                </a:ext>
              </a:extLst>
            </p:cNvPr>
            <p:cNvSpPr/>
            <p:nvPr/>
          </p:nvSpPr>
          <p:spPr>
            <a:xfrm>
              <a:off x="2481824" y="5534115"/>
              <a:ext cx="182880" cy="77752"/>
            </a:xfrm>
            <a:prstGeom prst="roundRect">
              <a:avLst/>
            </a:prstGeom>
            <a:solidFill>
              <a:schemeClr val="accent6"/>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0" name="Group 9">
            <a:extLst>
              <a:ext uri="{FF2B5EF4-FFF2-40B4-BE49-F238E27FC236}">
                <a16:creationId xmlns:a16="http://schemas.microsoft.com/office/drawing/2014/main" id="{B191169F-5A91-5494-41D1-155A4AD4BF52}"/>
              </a:ext>
            </a:extLst>
          </p:cNvPr>
          <p:cNvGrpSpPr/>
          <p:nvPr/>
        </p:nvGrpSpPr>
        <p:grpSpPr>
          <a:xfrm>
            <a:off x="2486278" y="5707904"/>
            <a:ext cx="1980212" cy="155503"/>
            <a:chOff x="2481198" y="5707904"/>
            <a:chExt cx="1980212" cy="155503"/>
          </a:xfrm>
        </p:grpSpPr>
        <p:sp>
          <p:nvSpPr>
            <p:cNvPr id="63" name="TextBox 62">
              <a:extLst>
                <a:ext uri="{FF2B5EF4-FFF2-40B4-BE49-F238E27FC236}">
                  <a16:creationId xmlns:a16="http://schemas.microsoft.com/office/drawing/2014/main" id="{19524825-23AF-EEA9-A78B-7C3FA427DC43}"/>
                </a:ext>
              </a:extLst>
            </p:cNvPr>
            <p:cNvSpPr txBox="1"/>
            <p:nvPr/>
          </p:nvSpPr>
          <p:spPr>
            <a:xfrm>
              <a:off x="2693570" y="5707904"/>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Uxbridge</a:t>
              </a:r>
            </a:p>
          </p:txBody>
        </p:sp>
        <p:sp>
          <p:nvSpPr>
            <p:cNvPr id="66" name="Rectangle: Rounded Corners 65">
              <a:extLst>
                <a:ext uri="{FF2B5EF4-FFF2-40B4-BE49-F238E27FC236}">
                  <a16:creationId xmlns:a16="http://schemas.microsoft.com/office/drawing/2014/main" id="{0B3DB40E-BBC3-E4B9-99EB-1DCB3898792C}"/>
                </a:ext>
              </a:extLst>
            </p:cNvPr>
            <p:cNvSpPr/>
            <p:nvPr/>
          </p:nvSpPr>
          <p:spPr>
            <a:xfrm>
              <a:off x="2481198" y="5746779"/>
              <a:ext cx="182880" cy="77752"/>
            </a:xfrm>
            <a:prstGeom prst="roundRect">
              <a:avLst/>
            </a:prstGeom>
            <a:solidFill>
              <a:srgbClr val="002060"/>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04" name="Group 103">
            <a:extLst>
              <a:ext uri="{FF2B5EF4-FFF2-40B4-BE49-F238E27FC236}">
                <a16:creationId xmlns:a16="http://schemas.microsoft.com/office/drawing/2014/main" id="{2B75F6F5-5317-2B56-15DC-CA5DAE6F3170}"/>
              </a:ext>
            </a:extLst>
          </p:cNvPr>
          <p:cNvGrpSpPr/>
          <p:nvPr/>
        </p:nvGrpSpPr>
        <p:grpSpPr>
          <a:xfrm>
            <a:off x="4734560" y="5279946"/>
            <a:ext cx="4476689" cy="715986"/>
            <a:chOff x="474980" y="5302806"/>
            <a:chExt cx="4476689" cy="715986"/>
          </a:xfrm>
        </p:grpSpPr>
        <p:grpSp>
          <p:nvGrpSpPr>
            <p:cNvPr id="105" name="Group 104">
              <a:extLst>
                <a:ext uri="{FF2B5EF4-FFF2-40B4-BE49-F238E27FC236}">
                  <a16:creationId xmlns:a16="http://schemas.microsoft.com/office/drawing/2014/main" id="{D1A5FE33-E4C8-8C92-9293-CD9C35DA96B8}"/>
                </a:ext>
              </a:extLst>
            </p:cNvPr>
            <p:cNvGrpSpPr/>
            <p:nvPr/>
          </p:nvGrpSpPr>
          <p:grpSpPr>
            <a:xfrm>
              <a:off x="474980" y="5302806"/>
              <a:ext cx="1980212" cy="155503"/>
              <a:chOff x="467360" y="5287566"/>
              <a:chExt cx="1980212" cy="155503"/>
            </a:xfrm>
          </p:grpSpPr>
          <p:sp>
            <p:nvSpPr>
              <p:cNvPr id="123" name="TextBox 122">
                <a:extLst>
                  <a:ext uri="{FF2B5EF4-FFF2-40B4-BE49-F238E27FC236}">
                    <a16:creationId xmlns:a16="http://schemas.microsoft.com/office/drawing/2014/main" id="{6F504E15-AF55-A950-6586-94C987176A86}"/>
                  </a:ext>
                </a:extLst>
              </p:cNvPr>
              <p:cNvSpPr txBox="1"/>
              <p:nvPr/>
            </p:nvSpPr>
            <p:spPr>
              <a:xfrm>
                <a:off x="679732" y="5287566"/>
                <a:ext cx="1767840" cy="15550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900" dirty="0"/>
                  <a:t>Amherst</a:t>
                </a:r>
              </a:p>
            </p:txBody>
          </p:sp>
          <p:sp>
            <p:nvSpPr>
              <p:cNvPr id="124" name="Rectangle: Rounded Corners 123">
                <a:extLst>
                  <a:ext uri="{FF2B5EF4-FFF2-40B4-BE49-F238E27FC236}">
                    <a16:creationId xmlns:a16="http://schemas.microsoft.com/office/drawing/2014/main" id="{07FE85EB-FF2A-4402-4391-5E14B3C8617D}"/>
                  </a:ext>
                </a:extLst>
              </p:cNvPr>
              <p:cNvSpPr/>
              <p:nvPr/>
            </p:nvSpPr>
            <p:spPr>
              <a:xfrm>
                <a:off x="467360" y="5326441"/>
                <a:ext cx="182880" cy="77752"/>
              </a:xfrm>
              <a:prstGeom prst="roundRect">
                <a:avLst/>
              </a:prstGeom>
              <a:solidFill>
                <a:schemeClr val="accent1"/>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06" name="Group 105">
              <a:extLst>
                <a:ext uri="{FF2B5EF4-FFF2-40B4-BE49-F238E27FC236}">
                  <a16:creationId xmlns:a16="http://schemas.microsoft.com/office/drawing/2014/main" id="{47F06634-AABF-B96F-3E0A-FC7EF361421A}"/>
                </a:ext>
              </a:extLst>
            </p:cNvPr>
            <p:cNvGrpSpPr/>
            <p:nvPr/>
          </p:nvGrpSpPr>
          <p:grpSpPr>
            <a:xfrm>
              <a:off x="474980" y="5529790"/>
              <a:ext cx="1980212" cy="155503"/>
              <a:chOff x="467360" y="5287566"/>
              <a:chExt cx="1980212" cy="155503"/>
            </a:xfrm>
          </p:grpSpPr>
          <p:sp>
            <p:nvSpPr>
              <p:cNvPr id="121" name="TextBox 120">
                <a:extLst>
                  <a:ext uri="{FF2B5EF4-FFF2-40B4-BE49-F238E27FC236}">
                    <a16:creationId xmlns:a16="http://schemas.microsoft.com/office/drawing/2014/main" id="{3070E505-2AC5-2455-0952-CDCC167E66AF}"/>
                  </a:ext>
                </a:extLst>
              </p:cNvPr>
              <p:cNvSpPr txBox="1"/>
              <p:nvPr/>
            </p:nvSpPr>
            <p:spPr>
              <a:xfrm>
                <a:off x="679732" y="528756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Chicopee</a:t>
                </a:r>
              </a:p>
            </p:txBody>
          </p:sp>
          <p:sp>
            <p:nvSpPr>
              <p:cNvPr id="122" name="Rectangle: Rounded Corners 121">
                <a:extLst>
                  <a:ext uri="{FF2B5EF4-FFF2-40B4-BE49-F238E27FC236}">
                    <a16:creationId xmlns:a16="http://schemas.microsoft.com/office/drawing/2014/main" id="{85D0968C-8D51-4ABC-A7F6-51F7129DFCB3}"/>
                  </a:ext>
                </a:extLst>
              </p:cNvPr>
              <p:cNvSpPr/>
              <p:nvPr/>
            </p:nvSpPr>
            <p:spPr>
              <a:xfrm>
                <a:off x="467360" y="5326441"/>
                <a:ext cx="182880" cy="77752"/>
              </a:xfrm>
              <a:prstGeom prst="roundRect">
                <a:avLst/>
              </a:prstGeom>
              <a:solidFill>
                <a:schemeClr val="accent2"/>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07" name="Group 106">
              <a:extLst>
                <a:ext uri="{FF2B5EF4-FFF2-40B4-BE49-F238E27FC236}">
                  <a16:creationId xmlns:a16="http://schemas.microsoft.com/office/drawing/2014/main" id="{656825E6-982F-5F85-BE1F-A82BE5066CD5}"/>
                </a:ext>
              </a:extLst>
            </p:cNvPr>
            <p:cNvGrpSpPr/>
            <p:nvPr/>
          </p:nvGrpSpPr>
          <p:grpSpPr>
            <a:xfrm>
              <a:off x="474980" y="5756774"/>
              <a:ext cx="1980212" cy="155503"/>
              <a:chOff x="467360" y="5287566"/>
              <a:chExt cx="1980212" cy="155503"/>
            </a:xfrm>
          </p:grpSpPr>
          <p:sp>
            <p:nvSpPr>
              <p:cNvPr id="119" name="TextBox 118">
                <a:extLst>
                  <a:ext uri="{FF2B5EF4-FFF2-40B4-BE49-F238E27FC236}">
                    <a16:creationId xmlns:a16="http://schemas.microsoft.com/office/drawing/2014/main" id="{4F74E57E-E25D-5D38-8D50-FFEDADBF52AD}"/>
                  </a:ext>
                </a:extLst>
              </p:cNvPr>
              <p:cNvSpPr txBox="1"/>
              <p:nvPr/>
            </p:nvSpPr>
            <p:spPr>
              <a:xfrm>
                <a:off x="679732" y="528756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Greenfield</a:t>
                </a:r>
              </a:p>
            </p:txBody>
          </p:sp>
          <p:sp>
            <p:nvSpPr>
              <p:cNvPr id="120" name="Rectangle: Rounded Corners 119">
                <a:extLst>
                  <a:ext uri="{FF2B5EF4-FFF2-40B4-BE49-F238E27FC236}">
                    <a16:creationId xmlns:a16="http://schemas.microsoft.com/office/drawing/2014/main" id="{5652DAFD-58A0-43C7-86D6-DFB2C80CB15E}"/>
                  </a:ext>
                </a:extLst>
              </p:cNvPr>
              <p:cNvSpPr/>
              <p:nvPr/>
            </p:nvSpPr>
            <p:spPr>
              <a:xfrm>
                <a:off x="467360" y="5326441"/>
                <a:ext cx="182880" cy="77752"/>
              </a:xfrm>
              <a:prstGeom prst="roundRect">
                <a:avLst/>
              </a:prstGeom>
              <a:solidFill>
                <a:srgbClr val="00B050"/>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08" name="Group 107">
              <a:extLst>
                <a:ext uri="{FF2B5EF4-FFF2-40B4-BE49-F238E27FC236}">
                  <a16:creationId xmlns:a16="http://schemas.microsoft.com/office/drawing/2014/main" id="{99300BEB-733F-83D3-816D-78AD90541B4C}"/>
                </a:ext>
              </a:extLst>
            </p:cNvPr>
            <p:cNvGrpSpPr/>
            <p:nvPr/>
          </p:nvGrpSpPr>
          <p:grpSpPr>
            <a:xfrm>
              <a:off x="2464262" y="5526260"/>
              <a:ext cx="1980212" cy="155503"/>
              <a:chOff x="467257" y="5514123"/>
              <a:chExt cx="1980212" cy="155503"/>
            </a:xfrm>
          </p:grpSpPr>
          <p:sp>
            <p:nvSpPr>
              <p:cNvPr id="117" name="TextBox 116">
                <a:extLst>
                  <a:ext uri="{FF2B5EF4-FFF2-40B4-BE49-F238E27FC236}">
                    <a16:creationId xmlns:a16="http://schemas.microsoft.com/office/drawing/2014/main" id="{7CE5BE2F-0FC0-5A42-DB41-5CD2D15FD61B}"/>
                  </a:ext>
                </a:extLst>
              </p:cNvPr>
              <p:cNvSpPr txBox="1"/>
              <p:nvPr/>
            </p:nvSpPr>
            <p:spPr>
              <a:xfrm>
                <a:off x="679629" y="5514123"/>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South Hadley</a:t>
                </a:r>
              </a:p>
            </p:txBody>
          </p:sp>
          <p:sp>
            <p:nvSpPr>
              <p:cNvPr id="118" name="Rectangle: Rounded Corners 117">
                <a:extLst>
                  <a:ext uri="{FF2B5EF4-FFF2-40B4-BE49-F238E27FC236}">
                    <a16:creationId xmlns:a16="http://schemas.microsoft.com/office/drawing/2014/main" id="{2E02B42F-56FE-8110-0624-CAB1F3CF4574}"/>
                  </a:ext>
                </a:extLst>
              </p:cNvPr>
              <p:cNvSpPr/>
              <p:nvPr/>
            </p:nvSpPr>
            <p:spPr>
              <a:xfrm>
                <a:off x="467257" y="5552998"/>
                <a:ext cx="182880" cy="77752"/>
              </a:xfrm>
              <a:prstGeom prst="roundRect">
                <a:avLst/>
              </a:prstGeom>
              <a:solidFill>
                <a:schemeClr val="accent6"/>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109" name="Group 108">
              <a:extLst>
                <a:ext uri="{FF2B5EF4-FFF2-40B4-BE49-F238E27FC236}">
                  <a16:creationId xmlns:a16="http://schemas.microsoft.com/office/drawing/2014/main" id="{9CAD8B42-AB1F-EAC5-8A3D-70B9A7416F24}"/>
                </a:ext>
              </a:extLst>
            </p:cNvPr>
            <p:cNvGrpSpPr/>
            <p:nvPr/>
          </p:nvGrpSpPr>
          <p:grpSpPr>
            <a:xfrm>
              <a:off x="2471985" y="5315867"/>
              <a:ext cx="1980212" cy="155503"/>
              <a:chOff x="467360" y="5076746"/>
              <a:chExt cx="1980212" cy="155503"/>
            </a:xfrm>
          </p:grpSpPr>
          <p:sp>
            <p:nvSpPr>
              <p:cNvPr id="115" name="TextBox 114">
                <a:extLst>
                  <a:ext uri="{FF2B5EF4-FFF2-40B4-BE49-F238E27FC236}">
                    <a16:creationId xmlns:a16="http://schemas.microsoft.com/office/drawing/2014/main" id="{A0D7BCB0-E201-A5AC-180B-EEFE97961805}"/>
                  </a:ext>
                </a:extLst>
              </p:cNvPr>
              <p:cNvSpPr txBox="1"/>
              <p:nvPr/>
            </p:nvSpPr>
            <p:spPr>
              <a:xfrm>
                <a:off x="679732" y="5076746"/>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Pittsfield</a:t>
                </a:r>
              </a:p>
            </p:txBody>
          </p:sp>
          <p:sp>
            <p:nvSpPr>
              <p:cNvPr id="116" name="Rectangle: Rounded Corners 115">
                <a:extLst>
                  <a:ext uri="{FF2B5EF4-FFF2-40B4-BE49-F238E27FC236}">
                    <a16:creationId xmlns:a16="http://schemas.microsoft.com/office/drawing/2014/main" id="{636BACBE-5B0C-79AE-92A6-CB504F2B65BD}"/>
                  </a:ext>
                </a:extLst>
              </p:cNvPr>
              <p:cNvSpPr/>
              <p:nvPr/>
            </p:nvSpPr>
            <p:spPr>
              <a:xfrm>
                <a:off x="467360" y="5115621"/>
                <a:ext cx="182880" cy="77752"/>
              </a:xfrm>
              <a:prstGeom prst="roundRect">
                <a:avLst/>
              </a:prstGeom>
              <a:solidFill>
                <a:schemeClr val="accent5"/>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sp>
          <p:nvSpPr>
            <p:cNvPr id="112" name="Rectangle: Rounded Corners 111">
              <a:extLst>
                <a:ext uri="{FF2B5EF4-FFF2-40B4-BE49-F238E27FC236}">
                  <a16:creationId xmlns:a16="http://schemas.microsoft.com/office/drawing/2014/main" id="{02B7A395-6BFE-D17B-F734-73BDB052D181}"/>
                </a:ext>
              </a:extLst>
            </p:cNvPr>
            <p:cNvSpPr/>
            <p:nvPr/>
          </p:nvSpPr>
          <p:spPr>
            <a:xfrm flipH="1">
              <a:off x="4884420" y="5794390"/>
              <a:ext cx="67249" cy="224402"/>
            </a:xfrm>
            <a:prstGeom prst="roundRect">
              <a:avLst/>
            </a:prstGeom>
            <a:noFill/>
            <a:ln w="9525"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5" name="Group 4">
            <a:extLst>
              <a:ext uri="{FF2B5EF4-FFF2-40B4-BE49-F238E27FC236}">
                <a16:creationId xmlns:a16="http://schemas.microsoft.com/office/drawing/2014/main" id="{0B8A90A1-14AA-22A5-94C2-31BA58FD1A0E}"/>
              </a:ext>
            </a:extLst>
          </p:cNvPr>
          <p:cNvGrpSpPr/>
          <p:nvPr/>
        </p:nvGrpSpPr>
        <p:grpSpPr>
          <a:xfrm>
            <a:off x="479693" y="5438365"/>
            <a:ext cx="1968545" cy="155503"/>
            <a:chOff x="479693" y="5448510"/>
            <a:chExt cx="1968545" cy="155503"/>
          </a:xfrm>
        </p:grpSpPr>
        <p:sp>
          <p:nvSpPr>
            <p:cNvPr id="64" name="TextBox 63">
              <a:extLst>
                <a:ext uri="{FF2B5EF4-FFF2-40B4-BE49-F238E27FC236}">
                  <a16:creationId xmlns:a16="http://schemas.microsoft.com/office/drawing/2014/main" id="{C8787DCA-D40D-9CF5-F371-21F0488C870E}"/>
                </a:ext>
              </a:extLst>
            </p:cNvPr>
            <p:cNvSpPr txBox="1"/>
            <p:nvPr/>
          </p:nvSpPr>
          <p:spPr>
            <a:xfrm>
              <a:off x="680398" y="5448510"/>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Douglas</a:t>
              </a:r>
            </a:p>
          </p:txBody>
        </p:sp>
        <p:sp>
          <p:nvSpPr>
            <p:cNvPr id="65" name="Rectangle: Rounded Corners 64">
              <a:extLst>
                <a:ext uri="{FF2B5EF4-FFF2-40B4-BE49-F238E27FC236}">
                  <a16:creationId xmlns:a16="http://schemas.microsoft.com/office/drawing/2014/main" id="{C118745F-C3EC-B58B-E644-889ECDE42071}"/>
                </a:ext>
              </a:extLst>
            </p:cNvPr>
            <p:cNvSpPr/>
            <p:nvPr/>
          </p:nvSpPr>
          <p:spPr>
            <a:xfrm>
              <a:off x="479693" y="5487385"/>
              <a:ext cx="182880" cy="77752"/>
            </a:xfrm>
            <a:prstGeom prst="roundRect">
              <a:avLst/>
            </a:prstGeom>
            <a:solidFill>
              <a:schemeClr val="accent2"/>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pSp>
      <p:grpSp>
        <p:nvGrpSpPr>
          <p:cNvPr id="9" name="Group 8">
            <a:extLst>
              <a:ext uri="{FF2B5EF4-FFF2-40B4-BE49-F238E27FC236}">
                <a16:creationId xmlns:a16="http://schemas.microsoft.com/office/drawing/2014/main" id="{FAD6C3F2-61AA-43E1-6DAA-CC3B1F6265F0}"/>
              </a:ext>
            </a:extLst>
          </p:cNvPr>
          <p:cNvGrpSpPr/>
          <p:nvPr/>
        </p:nvGrpSpPr>
        <p:grpSpPr>
          <a:xfrm>
            <a:off x="479693" y="5804705"/>
            <a:ext cx="1968545" cy="155503"/>
            <a:chOff x="479693" y="5804705"/>
            <a:chExt cx="1968545" cy="155503"/>
          </a:xfrm>
        </p:grpSpPr>
        <p:sp>
          <p:nvSpPr>
            <p:cNvPr id="57" name="Rectangle: Rounded Corners 56">
              <a:extLst>
                <a:ext uri="{FF2B5EF4-FFF2-40B4-BE49-F238E27FC236}">
                  <a16:creationId xmlns:a16="http://schemas.microsoft.com/office/drawing/2014/main" id="{57916BB1-1534-4038-AF8F-16E8310BECDF}"/>
                </a:ext>
              </a:extLst>
            </p:cNvPr>
            <p:cNvSpPr/>
            <p:nvPr/>
          </p:nvSpPr>
          <p:spPr>
            <a:xfrm>
              <a:off x="479693" y="5843580"/>
              <a:ext cx="182880" cy="77752"/>
            </a:xfrm>
            <a:prstGeom prst="roundRect">
              <a:avLst/>
            </a:prstGeom>
            <a:solidFill>
              <a:srgbClr val="F339DD"/>
            </a:solidFill>
            <a:ln w="9525" cap="sq">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59" name="TextBox 58">
              <a:extLst>
                <a:ext uri="{FF2B5EF4-FFF2-40B4-BE49-F238E27FC236}">
                  <a16:creationId xmlns:a16="http://schemas.microsoft.com/office/drawing/2014/main" id="{C2DBCC4E-A69F-4EF9-8FD0-238D28A6D36A}"/>
                </a:ext>
              </a:extLst>
            </p:cNvPr>
            <p:cNvSpPr txBox="1"/>
            <p:nvPr/>
          </p:nvSpPr>
          <p:spPr>
            <a:xfrm>
              <a:off x="680398" y="5804705"/>
              <a:ext cx="1767840" cy="155503"/>
            </a:xfrm>
            <a:prstGeom prst="rect">
              <a:avLst/>
            </a:prstGeom>
            <a:ln w="6350">
              <a:noFill/>
              <a:miter lim="800000"/>
            </a:ln>
          </p:spPr>
          <p:txBody>
            <a:bodyPr vert="horz" wrap="square" lIns="0" tIns="0" rIns="0" bIns="0" rtlCol="0" anchor="ctr">
              <a:noAutofit/>
            </a:bodyPr>
            <a:lstStyle/>
            <a:p>
              <a:pPr algn="l">
                <a:spcBef>
                  <a:spcPts val="300"/>
                </a:spcBef>
                <a:spcAft>
                  <a:spcPts val="300"/>
                </a:spcAft>
                <a:buNone/>
              </a:pPr>
              <a:r>
                <a:rPr lang="en-US" sz="900" dirty="0"/>
                <a:t>Grafton</a:t>
              </a:r>
            </a:p>
          </p:txBody>
        </p:sp>
      </p:grpSp>
    </p:spTree>
    <p:extLst>
      <p:ext uri="{BB962C8B-B14F-4D97-AF65-F5344CB8AC3E}">
        <p14:creationId xmlns:p14="http://schemas.microsoft.com/office/powerpoint/2010/main" val="16402241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7 01:13 PM"/>
  <p:tag name="TEMPLATECREATED" val="2019-02-27 01:19 PM"/>
  <p:tag name="TEMPLATEVERSION" val="3"/>
  <p:tag name="BLUEONEFOURTHTITLEFONTCOLORFIXED" val="true"/>
  <p:tag name="DARKLAYOUTNAMESCHANGEDTOCONTRAST" val="true"/>
  <p:tag name="CTFIXED" val="Yes"/>
  <p:tag name="TEMPLATELASTEDITED" val="2020-04-03 08:06 AM"/>
  <p:tag name="THINKCELLPRESENTATIONDONOTDELETE" val="&lt;?xml version=&quot;1.0&quot; encoding=&quot;UTF-16&quot; standalone=&quot;yes&quot;?&gt;&lt;root reqver=&quot;27037&quot;&gt;&lt;version val=&quot;3251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4&quot;&gt;&lt;elem m_fUsage=&quot;2.89976324940671137398E+00&quot;&gt;&lt;m_msothmcolidx val=&quot;0&quot;/&gt;&lt;m_rgb r=&quot;FF&quot; g=&quot;00&quot; b=&quot;00&quot;/&gt;&lt;/elem&gt;&lt;elem m_fUsage=&quot;1.55610000000000003872E+00&quot;&gt;&lt;m_msothmcolidx val=&quot;0&quot;/&gt;&lt;m_rgb r=&quot;25&quot; g=&quot;5B&quot; b=&quot;EB&quot;/&gt;&lt;/elem&gt;&lt;elem m_fUsage=&quot;1.40049000000000001265E+00&quot;&gt;&lt;m_msothmcolidx val=&quot;0&quot;/&gt;&lt;m_rgb r=&quot;2A&quot; g=&quot;33&quot; b=&quot;5C&quot;/&gt;&lt;/elem&gt;&lt;elem m_fUsage=&quot;1.10928496519973251999E+00&quot;&gt;&lt;m_msothmcolidx val=&quot;0&quot;/&gt;&lt;m_rgb r=&quot;F0&quot; g=&quot;CA&quot; b=&quot;C8&quot;/&gt;&lt;/elem&gt;&lt;elem m_fUsage=&quot;8.37734065462328092444E-01&quot;&gt;&lt;m_msothmcolidx val=&quot;0&quot;/&gt;&lt;m_rgb r=&quot;ED&quot; g=&quot;C9&quot; b=&quot;48&quot;/&gt;&lt;/elem&gt;&lt;elem m_fUsage=&quot;5.30624913313574975149E-01&quot;&gt;&lt;m_msothmcolidx val=&quot;0&quot;/&gt;&lt;m_rgb r=&quot;97&quot; g=&quot;09&quot; b=&quot;16&quot;/&gt;&lt;/elem&gt;&lt;elem m_fUsage=&quot;4.70255094690569419580E-01&quot;&gt;&lt;m_msothmcolidx val=&quot;0&quot;/&gt;&lt;m_rgb r=&quot;D8&quot; g=&quot;16&quot; b=&quot;F3&quot;/&gt;&lt;/elem&gt;&lt;elem m_fUsage=&quot;4.26031908290714300680E-01&quot;&gt;&lt;m_msothmcolidx val=&quot;0&quot;/&gt;&lt;m_rgb r=&quot;59&quot; g=&quot;A1&quot; b=&quot;4F&quot;/&gt;&lt;/elem&gt;&lt;elem m_fUsage=&quot;3.87420489000000145552E-01&quot;&gt;&lt;m_msothmcolidx val=&quot;0&quot;/&gt;&lt;m_rgb r=&quot;FE&quot; g=&quot;E8&quot; b=&quot;BA&quot;/&gt;&lt;/elem&gt;&lt;elem m_fUsage=&quot;9.61896463451332173200E-02&quot;&gt;&lt;m_msothmcolidx val=&quot;0&quot;/&gt;&lt;m_rgb r=&quot;F9&quot; g=&quot;9D&quot; b=&quot;F9&quot;/&gt;&lt;/elem&gt;&lt;elem m_fUsage=&quot;7.76163968842583512631E-02&quot;&gt;&lt;m_msothmcolidx val=&quot;0&quot;/&gt;&lt;m_rgb r=&quot;6A&quot; g=&quot;CC&quot; b=&quot;68&quot;/&gt;&lt;/elem&gt;&lt;elem m_fUsage=&quot;4.00561927712877879904E-02&quot;&gt;&lt;m_msothmcolidx val=&quot;0&quot;/&gt;&lt;m_rgb r=&quot;FB&quot; g=&quot;11&quot; b=&quot;46&quot;/&gt;&lt;/elem&gt;&lt;elem m_fUsage=&quot;3.81520424476946215520E-02&quot;&gt;&lt;m_msothmcolidx val=&quot;0&quot;/&gt;&lt;m_rgb r=&quot;F9&quot; g=&quot;85&quot; b=&quot;4D&quot;/&gt;&lt;/elem&gt;&lt;elem m_fUsage=&quot;2.25283995449391989674E-02&quot;&gt;&lt;m_msothmcolidx val=&quot;0&quot;/&gt;&lt;m_rgb r=&quot;C6&quot; g=&quot;F1&quot; b=&quot;FF&quot;/&gt;&lt;/elem&gt;&lt;/m_vecMRU&gt;&lt;/m_mruColor&gt;&lt;m_eweekdayFirstOfWeek val=&quot;1&quot;/&gt;&lt;m_eweekdayFirstOfWorkweek val=&quot;2&quot;/&gt;&lt;m_eweekdayFirstOfWeekend val=&quot;7&quot;/&gt;&lt;/CPresentation&gt;&lt;/root&gt;"/>
  <p:tag name="TSCLIENT" val="True"/>
  <p:tag name="MTBTACCENT" val="Accent1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4m5a.30oe1xmbXwjDoU0KQ"/>
</p:tagLst>
</file>

<file path=ppt/tags/tag137.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xml><?xml version="1.0" encoding="utf-8"?>
<p:tagLst xmlns:a="http://schemas.openxmlformats.org/drawingml/2006/main" xmlns:r="http://schemas.openxmlformats.org/officeDocument/2006/relationships" xmlns:p="http://schemas.openxmlformats.org/presentationml/2006/main">
  <p:tag name="SHAPENAME" val="Grid"/>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NAME" val="ACET"/>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5.xml><?xml version="1.0" encoding="utf-8"?>
<p:tagLst xmlns:a="http://schemas.openxmlformats.org/drawingml/2006/main" xmlns:r="http://schemas.openxmlformats.org/officeDocument/2006/relationships" xmlns:p="http://schemas.openxmlformats.org/presentationml/2006/main">
  <p:tag name="NAME" val="Moon"/>
</p:tagLst>
</file>

<file path=ppt/tags/tag146.xml><?xml version="1.0" encoding="utf-8"?>
<p:tagLst xmlns:a="http://schemas.openxmlformats.org/drawingml/2006/main" xmlns:r="http://schemas.openxmlformats.org/officeDocument/2006/relationships" xmlns:p="http://schemas.openxmlformats.org/presentationml/2006/main">
  <p:tag name="ANGLE" val="5"/>
</p:tagLst>
</file>

<file path=ppt/tags/tag147.xml><?xml version="1.0" encoding="utf-8"?>
<p:tagLst xmlns:a="http://schemas.openxmlformats.org/drawingml/2006/main" xmlns:r="http://schemas.openxmlformats.org/officeDocument/2006/relationships" xmlns:p="http://schemas.openxmlformats.org/presentationml/2006/main">
  <p:tag name="ANGLE" val="5"/>
</p:tagLst>
</file>

<file path=ppt/tags/tag148.xml><?xml version="1.0" encoding="utf-8"?>
<p:tagLst xmlns:a="http://schemas.openxmlformats.org/drawingml/2006/main" xmlns:r="http://schemas.openxmlformats.org/officeDocument/2006/relationships" xmlns:p="http://schemas.openxmlformats.org/presentationml/2006/main">
  <p:tag name="ANGLE" val="4"/>
</p:tagLst>
</file>

<file path=ppt/tags/tag149.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ANGLE" val="3"/>
</p:tagLst>
</file>

<file path=ppt/tags/tag151.xml><?xml version="1.0" encoding="utf-8"?>
<p:tagLst xmlns:a="http://schemas.openxmlformats.org/drawingml/2006/main" xmlns:r="http://schemas.openxmlformats.org/officeDocument/2006/relationships" xmlns:p="http://schemas.openxmlformats.org/presentationml/2006/main">
  <p:tag name="ANGLE" val="3"/>
</p:tagLst>
</file>

<file path=ppt/tags/tag152.xml><?xml version="1.0" encoding="utf-8"?>
<p:tagLst xmlns:a="http://schemas.openxmlformats.org/drawingml/2006/main" xmlns:r="http://schemas.openxmlformats.org/officeDocument/2006/relationships" xmlns:p="http://schemas.openxmlformats.org/presentationml/2006/main">
  <p:tag name="ANGLE" val="2"/>
</p:tagLst>
</file>

<file path=ppt/tags/tag153.xml><?xml version="1.0" encoding="utf-8"?>
<p:tagLst xmlns:a="http://schemas.openxmlformats.org/drawingml/2006/main" xmlns:r="http://schemas.openxmlformats.org/officeDocument/2006/relationships" xmlns:p="http://schemas.openxmlformats.org/presentationml/2006/main">
  <p:tag name="ANGLE" val="2"/>
</p:tagLst>
</file>

<file path=ppt/tags/tag154.xml><?xml version="1.0" encoding="utf-8"?>
<p:tagLst xmlns:a="http://schemas.openxmlformats.org/drawingml/2006/main" xmlns:r="http://schemas.openxmlformats.org/officeDocument/2006/relationships" xmlns:p="http://schemas.openxmlformats.org/presentationml/2006/main">
  <p:tag name="ANGLE" val="1"/>
</p:tagLst>
</file>

<file path=ppt/tags/tag155.xml><?xml version="1.0" encoding="utf-8"?>
<p:tagLst xmlns:a="http://schemas.openxmlformats.org/drawingml/2006/main" xmlns:r="http://schemas.openxmlformats.org/officeDocument/2006/relationships" xmlns:p="http://schemas.openxmlformats.org/presentationml/2006/main">
  <p:tag name="ANGLE" val="1"/>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JDdYh2halhdJF8285D2EKg"/>
</p:tagLst>
</file>

<file path=ppt/tags/tag158.xml><?xml version="1.0" encoding="utf-8"?>
<p:tagLst xmlns:a="http://schemas.openxmlformats.org/drawingml/2006/main" xmlns:r="http://schemas.openxmlformats.org/officeDocument/2006/relationships" xmlns:p="http://schemas.openxmlformats.org/presentationml/2006/main">
  <p:tag name="SHAPENAME" val="Title"/>
</p:tagLst>
</file>

<file path=ppt/tags/tag1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Subtitle"/>
</p:tagLst>
</file>

<file path=ppt/tags/tag16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pP11CnWVj4SHrNwkW4jJlQ"/>
</p:tagLst>
</file>

<file path=ppt/tags/tag1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2.xml><?xml version="1.0" encoding="utf-8"?>
<p:tagLst xmlns:a="http://schemas.openxmlformats.org/drawingml/2006/main" xmlns:r="http://schemas.openxmlformats.org/officeDocument/2006/relationships" xmlns:p="http://schemas.openxmlformats.org/presentationml/2006/main">
  <p:tag name="SHAPENAME" val="5. Source"/>
</p:tagLst>
</file>

<file path=ppt/tags/tag1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LtFDKWot6hXzrttW11n8AQ"/>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F_d6dth08tUGQumsWVEb9A"/>
</p:tagLst>
</file>

<file path=ppt/tags/tag1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4.xml><?xml version="1.0" encoding="utf-8"?>
<p:tagLst xmlns:a="http://schemas.openxmlformats.org/drawingml/2006/main" xmlns:r="http://schemas.openxmlformats.org/officeDocument/2006/relationships" xmlns:p="http://schemas.openxmlformats.org/presentationml/2006/main">
  <p:tag name="SHAPENAME" val="5. Source"/>
</p:tagLst>
</file>

<file path=ppt/tags/tag1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BPKsTDVLK_dG90r4UwOosA"/>
</p:tagLst>
</file>

<file path=ppt/tags/tag1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5. Source"/>
</p:tagLst>
</file>

<file path=ppt/tags/tag1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ri0mgXOmqjmJhsxDkh.0TQ"/>
</p:tagLst>
</file>

<file path=ppt/tags/tag19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xml><?xml version="1.0" encoding="utf-8"?>
<p:tagLst xmlns:a="http://schemas.openxmlformats.org/drawingml/2006/main" xmlns:r="http://schemas.openxmlformats.org/officeDocument/2006/relationships" xmlns:p="http://schemas.openxmlformats.org/presentationml/2006/main">
  <p:tag name="SHAPENAME" val="5. Source"/>
</p:tagLst>
</file>

<file path=ppt/tags/tag1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zjiRFgosu1ceI1jhy8yBw"/>
</p:tagLst>
</file>

<file path=ppt/tags/tag20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5. Source"/>
</p:tagLst>
</file>

<file path=ppt/tags/tag2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w4VbVzfboTV4MZRME9u.ug"/>
</p:tagLst>
</file>

<file path=ppt/tags/tag212.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6nND2yuhwA5F6dwgrcNckA"/>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2.xml><?xml version="1.0" encoding="utf-8"?>
<p:tagLst xmlns:a="http://schemas.openxmlformats.org/drawingml/2006/main" xmlns:r="http://schemas.openxmlformats.org/officeDocument/2006/relationships" xmlns:p="http://schemas.openxmlformats.org/presentationml/2006/main">
  <p:tag name="SHAPENAME" val="5. Source"/>
</p:tagLst>
</file>

<file path=ppt/tags/tag2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4VZxN_OizesHAduWdSTPeQ"/>
</p:tagLst>
</file>

<file path=ppt/tags/tag22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5. Source"/>
</p:tagLst>
</file>

<file path=ppt/tags/tag2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6Sb87Uq18zwplXU0IuQNUw"/>
</p:tagLst>
</file>

<file path=ppt/tags/tag2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8.xml><?xml version="1.0" encoding="utf-8"?>
<p:tagLst xmlns:a="http://schemas.openxmlformats.org/drawingml/2006/main" xmlns:r="http://schemas.openxmlformats.org/officeDocument/2006/relationships" xmlns:p="http://schemas.openxmlformats.org/presentationml/2006/main">
  <p:tag name="SHAPENAME" val="5. Source"/>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2.xml><?xml version="1.0" encoding="utf-8"?>
<p:tagLst xmlns:a="http://schemas.openxmlformats.org/drawingml/2006/main" xmlns:r="http://schemas.openxmlformats.org/officeDocument/2006/relationships" xmlns:p="http://schemas.openxmlformats.org/presentationml/2006/main">
  <p:tag name="SHAPENAME" val="5. Source"/>
</p:tagLst>
</file>

<file path=ppt/tags/tag2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SHAPENAME" val="5. Sourc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48.xml><?xml version="1.0" encoding="utf-8"?>
<p:tagLst xmlns:a="http://schemas.openxmlformats.org/drawingml/2006/main" xmlns:r="http://schemas.openxmlformats.org/officeDocument/2006/relationships" xmlns:p="http://schemas.openxmlformats.org/presentationml/2006/main">
  <p:tag name="SHAPENAME" val="4. Footnote"/>
</p:tagLst>
</file>

<file path=ppt/tags/tag2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0.xml><?xml version="1.0" encoding="utf-8"?>
<p:tagLst xmlns:a="http://schemas.openxmlformats.org/drawingml/2006/main" xmlns:r="http://schemas.openxmlformats.org/officeDocument/2006/relationships" xmlns:p="http://schemas.openxmlformats.org/presentationml/2006/main">
  <p:tag name="SHAPENAME" val="Grid"/>
</p:tagLst>
</file>

<file path=ppt/tags/tag251.xml><?xml version="1.0" encoding="utf-8"?>
<p:tagLst xmlns:a="http://schemas.openxmlformats.org/drawingml/2006/main" xmlns:r="http://schemas.openxmlformats.org/officeDocument/2006/relationships" xmlns:p="http://schemas.openxmlformats.org/presentationml/2006/main">
  <p:tag name="NAME" val="ACET"/>
</p:tagLst>
</file>

<file path=ppt/tags/tag2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3.xml><?xml version="1.0" encoding="utf-8"?>
<p:tagLst xmlns:a="http://schemas.openxmlformats.org/drawingml/2006/main" xmlns:r="http://schemas.openxmlformats.org/officeDocument/2006/relationships" xmlns:p="http://schemas.openxmlformats.org/presentationml/2006/main">
  <p:tag name="NAME" val="Moon"/>
</p:tagLst>
</file>

<file path=ppt/tags/tag254.xml><?xml version="1.0" encoding="utf-8"?>
<p:tagLst xmlns:a="http://schemas.openxmlformats.org/drawingml/2006/main" xmlns:r="http://schemas.openxmlformats.org/officeDocument/2006/relationships" xmlns:p="http://schemas.openxmlformats.org/presentationml/2006/main">
  <p:tag name="NAME" val="Moon"/>
</p:tagLst>
</file>

<file path=ppt/tags/tag255.xml><?xml version="1.0" encoding="utf-8"?>
<p:tagLst xmlns:a="http://schemas.openxmlformats.org/drawingml/2006/main" xmlns:r="http://schemas.openxmlformats.org/officeDocument/2006/relationships" xmlns:p="http://schemas.openxmlformats.org/presentationml/2006/main">
  <p:tag name="NAME" val="Moon"/>
</p:tagLst>
</file>

<file path=ppt/tags/tag256.xml><?xml version="1.0" encoding="utf-8"?>
<p:tagLst xmlns:a="http://schemas.openxmlformats.org/drawingml/2006/main" xmlns:r="http://schemas.openxmlformats.org/officeDocument/2006/relationships" xmlns:p="http://schemas.openxmlformats.org/presentationml/2006/main">
  <p:tag name="NAME" val="Moon"/>
</p:tagLst>
</file>

<file path=ppt/tags/tag257.xml><?xml version="1.0" encoding="utf-8"?>
<p:tagLst xmlns:a="http://schemas.openxmlformats.org/drawingml/2006/main" xmlns:r="http://schemas.openxmlformats.org/officeDocument/2006/relationships" xmlns:p="http://schemas.openxmlformats.org/presentationml/2006/main">
  <p:tag name="NAME" val="Moon"/>
</p:tagLst>
</file>

<file path=ppt/tags/tag258.xml><?xml version="1.0" encoding="utf-8"?>
<p:tagLst xmlns:a="http://schemas.openxmlformats.org/drawingml/2006/main" xmlns:r="http://schemas.openxmlformats.org/officeDocument/2006/relationships" xmlns:p="http://schemas.openxmlformats.org/presentationml/2006/main">
  <p:tag name="ANGLE" val="5"/>
</p:tagLst>
</file>

<file path=ppt/tags/tag259.xml><?xml version="1.0" encoding="utf-8"?>
<p:tagLst xmlns:a="http://schemas.openxmlformats.org/drawingml/2006/main" xmlns:r="http://schemas.openxmlformats.org/officeDocument/2006/relationships" xmlns:p="http://schemas.openxmlformats.org/presentationml/2006/main">
  <p:tag name="ANGLE" val="5"/>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ANGLE" val="4"/>
</p:tagLst>
</file>

<file path=ppt/tags/tag261.xml><?xml version="1.0" encoding="utf-8"?>
<p:tagLst xmlns:a="http://schemas.openxmlformats.org/drawingml/2006/main" xmlns:r="http://schemas.openxmlformats.org/officeDocument/2006/relationships" xmlns:p="http://schemas.openxmlformats.org/presentationml/2006/main">
  <p:tag name="ANGLE" val="4"/>
</p:tagLst>
</file>

<file path=ppt/tags/tag262.xml><?xml version="1.0" encoding="utf-8"?>
<p:tagLst xmlns:a="http://schemas.openxmlformats.org/drawingml/2006/main" xmlns:r="http://schemas.openxmlformats.org/officeDocument/2006/relationships" xmlns:p="http://schemas.openxmlformats.org/presentationml/2006/main">
  <p:tag name="ANGLE" val="3"/>
</p:tagLst>
</file>

<file path=ppt/tags/tag263.xml><?xml version="1.0" encoding="utf-8"?>
<p:tagLst xmlns:a="http://schemas.openxmlformats.org/drawingml/2006/main" xmlns:r="http://schemas.openxmlformats.org/officeDocument/2006/relationships" xmlns:p="http://schemas.openxmlformats.org/presentationml/2006/main">
  <p:tag name="ANGLE" val="3"/>
</p:tagLst>
</file>

<file path=ppt/tags/tag264.xml><?xml version="1.0" encoding="utf-8"?>
<p:tagLst xmlns:a="http://schemas.openxmlformats.org/drawingml/2006/main" xmlns:r="http://schemas.openxmlformats.org/officeDocument/2006/relationships" xmlns:p="http://schemas.openxmlformats.org/presentationml/2006/main">
  <p:tag name="ANGLE" val="2"/>
</p:tagLst>
</file>

<file path=ppt/tags/tag265.xml><?xml version="1.0" encoding="utf-8"?>
<p:tagLst xmlns:a="http://schemas.openxmlformats.org/drawingml/2006/main" xmlns:r="http://schemas.openxmlformats.org/officeDocument/2006/relationships" xmlns:p="http://schemas.openxmlformats.org/presentationml/2006/main">
  <p:tag name="ANGLE" val="2"/>
</p:tagLst>
</file>

<file path=ppt/tags/tag266.xml><?xml version="1.0" encoding="utf-8"?>
<p:tagLst xmlns:a="http://schemas.openxmlformats.org/drawingml/2006/main" xmlns:r="http://schemas.openxmlformats.org/officeDocument/2006/relationships" xmlns:p="http://schemas.openxmlformats.org/presentationml/2006/main">
  <p:tag name="ANGLE" val="1"/>
</p:tagLst>
</file>

<file path=ppt/tags/tag267.xml><?xml version="1.0" encoding="utf-8"?>
<p:tagLst xmlns:a="http://schemas.openxmlformats.org/drawingml/2006/main" xmlns:r="http://schemas.openxmlformats.org/officeDocument/2006/relationships" xmlns:p="http://schemas.openxmlformats.org/presentationml/2006/main">
  <p:tag name="ANGLE" val="1"/>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0.xml><?xml version="1.0" encoding="utf-8"?>
<p:tagLst xmlns:a="http://schemas.openxmlformats.org/drawingml/2006/main" xmlns:r="http://schemas.openxmlformats.org/officeDocument/2006/relationships" xmlns:p="http://schemas.openxmlformats.org/presentationml/2006/main">
  <p:tag name="SHAPENAME" val="Title"/>
</p:tagLst>
</file>

<file path=ppt/tags/tag27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2.xml><?xml version="1.0" encoding="utf-8"?>
<p:tagLst xmlns:a="http://schemas.openxmlformats.org/drawingml/2006/main" xmlns:r="http://schemas.openxmlformats.org/officeDocument/2006/relationships" xmlns:p="http://schemas.openxmlformats.org/presentationml/2006/main">
  <p:tag name="SHAPENAME" val="Subtitle"/>
</p:tagLst>
</file>

<file path=ppt/tags/tag2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77.xml><?xml version="1.0" encoding="utf-8"?>
<p:tagLst xmlns:a="http://schemas.openxmlformats.org/drawingml/2006/main" xmlns:r="http://schemas.openxmlformats.org/officeDocument/2006/relationships" xmlns:p="http://schemas.openxmlformats.org/presentationml/2006/main">
  <p:tag name="SHAPENAME" val="Title"/>
</p:tagLst>
</file>

<file path=ppt/tags/tag27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9.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Subtitle"/>
</p:tagLst>
</file>

<file path=ppt/tags/tag28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82.xml><?xml version="1.0" encoding="utf-8"?>
<p:tagLst xmlns:a="http://schemas.openxmlformats.org/drawingml/2006/main" xmlns:r="http://schemas.openxmlformats.org/officeDocument/2006/relationships" xmlns:p="http://schemas.openxmlformats.org/presentationml/2006/main">
  <p:tag name="MM_SLIDE_TYPE" val="6"/>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2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8.xml><?xml version="1.0" encoding="utf-8"?>
<p:tagLst xmlns:a="http://schemas.openxmlformats.org/drawingml/2006/main" xmlns:r="http://schemas.openxmlformats.org/officeDocument/2006/relationships" xmlns:p="http://schemas.openxmlformats.org/presentationml/2006/main">
  <p:tag name="SHAPENAME" val="5. Source"/>
</p:tagLst>
</file>

<file path=ppt/tags/tag2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2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3.xml><?xml version="1.0" encoding="utf-8"?>
<p:tagLst xmlns:a="http://schemas.openxmlformats.org/drawingml/2006/main" xmlns:r="http://schemas.openxmlformats.org/officeDocument/2006/relationships" xmlns:p="http://schemas.openxmlformats.org/presentationml/2006/main">
  <p:tag name="SHAPENAME" val="5. Source"/>
</p:tagLst>
</file>

<file path=ppt/tags/tag2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2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0.xml><?xml version="1.0" encoding="utf-8"?>
<p:tagLst xmlns:a="http://schemas.openxmlformats.org/drawingml/2006/main" xmlns:r="http://schemas.openxmlformats.org/officeDocument/2006/relationships" xmlns:p="http://schemas.openxmlformats.org/presentationml/2006/main">
  <p:tag name="SHAPENAME" val="5. Source"/>
</p:tagLst>
</file>

<file path=ppt/tags/tag3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3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7.xml><?xml version="1.0" encoding="utf-8"?>
<p:tagLst xmlns:a="http://schemas.openxmlformats.org/drawingml/2006/main" xmlns:r="http://schemas.openxmlformats.org/officeDocument/2006/relationships" xmlns:p="http://schemas.openxmlformats.org/presentationml/2006/main">
  <p:tag name="SHAPENAME" val="5. Source"/>
</p:tagLst>
</file>

<file path=ppt/tags/tag3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3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4.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3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3.xml><?xml version="1.0" encoding="utf-8"?>
<p:tagLst xmlns:a="http://schemas.openxmlformats.org/drawingml/2006/main" xmlns:r="http://schemas.openxmlformats.org/officeDocument/2006/relationships" xmlns:p="http://schemas.openxmlformats.org/presentationml/2006/main">
  <p:tag name="SHAPENAME" val="5. Source"/>
</p:tagLst>
</file>

<file path=ppt/tags/tag3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33.xml><?xml version="1.0" encoding="utf-8"?>
<p:tagLst xmlns:a="http://schemas.openxmlformats.org/drawingml/2006/main" xmlns:r="http://schemas.openxmlformats.org/officeDocument/2006/relationships" xmlns:p="http://schemas.openxmlformats.org/presentationml/2006/main">
  <p:tag name="SHAPENAME" val="Title"/>
</p:tagLst>
</file>

<file path=ppt/tags/tag33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33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1.xml><?xml version="1.0" encoding="utf-8"?>
<p:tagLst xmlns:a="http://schemas.openxmlformats.org/drawingml/2006/main" xmlns:r="http://schemas.openxmlformats.org/officeDocument/2006/relationships" xmlns:p="http://schemas.openxmlformats.org/presentationml/2006/main">
  <p:tag name="SHAPENAME" val="5. Source"/>
</p:tagLst>
</file>

<file path=ppt/tags/tag3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3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xml><?xml version="1.0" encoding="utf-8"?>
<p:tagLst xmlns:a="http://schemas.openxmlformats.org/drawingml/2006/main" xmlns:r="http://schemas.openxmlformats.org/officeDocument/2006/relationships" xmlns:p="http://schemas.openxmlformats.org/presentationml/2006/main">
  <p:tag name="SHAPENAME" val="Subtitle"/>
</p:tagLst>
</file>

<file path=ppt/tags/tag350.xml><?xml version="1.0" encoding="utf-8"?>
<p:tagLst xmlns:a="http://schemas.openxmlformats.org/drawingml/2006/main" xmlns:r="http://schemas.openxmlformats.org/officeDocument/2006/relationships" xmlns:p="http://schemas.openxmlformats.org/presentationml/2006/main">
  <p:tag name="SHAPENAME" val="5. Source"/>
</p:tagLst>
</file>

<file path=ppt/tags/tag3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35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9.xml><?xml version="1.0" encoding="utf-8"?>
<p:tagLst xmlns:a="http://schemas.openxmlformats.org/drawingml/2006/main" xmlns:r="http://schemas.openxmlformats.org/officeDocument/2006/relationships" xmlns:p="http://schemas.openxmlformats.org/presentationml/2006/main">
  <p:tag name="SHAPENAME" val="5. Sourc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3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8.xml><?xml version="1.0" encoding="utf-8"?>
<p:tagLst xmlns:a="http://schemas.openxmlformats.org/drawingml/2006/main" xmlns:r="http://schemas.openxmlformats.org/officeDocument/2006/relationships" xmlns:p="http://schemas.openxmlformats.org/presentationml/2006/main">
  <p:tag name="SHAPENAME" val="5. Source"/>
</p:tagLst>
</file>

<file path=ppt/tags/tag3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3.xml><?xml version="1.0" encoding="utf-8"?>
<p:tagLst xmlns:a="http://schemas.openxmlformats.org/drawingml/2006/main" xmlns:r="http://schemas.openxmlformats.org/officeDocument/2006/relationships" xmlns:p="http://schemas.openxmlformats.org/presentationml/2006/main">
  <p:tag name="SHAPENAME" val="5. Source"/>
</p:tagLst>
</file>

<file path=ppt/tags/tag3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SHAPENAME" val="5. Source"/>
</p:tagLst>
</file>

<file path=ppt/tags/tag37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MM_SLIDE_TYPE" val="6"/>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IOewHppY6esXQVtHgLQrA"/>
</p:tagLst>
</file>

<file path=ppt/tags/tag3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386.xml><?xml version="1.0" encoding="utf-8"?>
<p:tagLst xmlns:a="http://schemas.openxmlformats.org/drawingml/2006/main" xmlns:r="http://schemas.openxmlformats.org/officeDocument/2006/relationships" xmlns:p="http://schemas.openxmlformats.org/presentationml/2006/main">
  <p:tag name="SHAPENAME" val="4. Footnote"/>
</p:tagLst>
</file>

<file path=ppt/tags/tag3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8.xml><?xml version="1.0" encoding="utf-8"?>
<p:tagLst xmlns:a="http://schemas.openxmlformats.org/drawingml/2006/main" xmlns:r="http://schemas.openxmlformats.org/officeDocument/2006/relationships" xmlns:p="http://schemas.openxmlformats.org/presentationml/2006/main">
  <p:tag name="SHAPENAME" val="Grid"/>
</p:tagLst>
</file>

<file path=ppt/tags/tag389.xml><?xml version="1.0" encoding="utf-8"?>
<p:tagLst xmlns:a="http://schemas.openxmlformats.org/drawingml/2006/main" xmlns:r="http://schemas.openxmlformats.org/officeDocument/2006/relationships" xmlns:p="http://schemas.openxmlformats.org/presentationml/2006/main">
  <p:tag name="NAME" val="ACET"/>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NAME" val="Moon"/>
</p:tagLst>
</file>

<file path=ppt/tags/tag391.xml><?xml version="1.0" encoding="utf-8"?>
<p:tagLst xmlns:a="http://schemas.openxmlformats.org/drawingml/2006/main" xmlns:r="http://schemas.openxmlformats.org/officeDocument/2006/relationships" xmlns:p="http://schemas.openxmlformats.org/presentationml/2006/main">
  <p:tag name="NAME" val="Moon"/>
</p:tagLst>
</file>

<file path=ppt/tags/tag392.xml><?xml version="1.0" encoding="utf-8"?>
<p:tagLst xmlns:a="http://schemas.openxmlformats.org/drawingml/2006/main" xmlns:r="http://schemas.openxmlformats.org/officeDocument/2006/relationships" xmlns:p="http://schemas.openxmlformats.org/presentationml/2006/main">
  <p:tag name="NAME" val="Moon"/>
</p:tagLst>
</file>

<file path=ppt/tags/tag393.xml><?xml version="1.0" encoding="utf-8"?>
<p:tagLst xmlns:a="http://schemas.openxmlformats.org/drawingml/2006/main" xmlns:r="http://schemas.openxmlformats.org/officeDocument/2006/relationships" xmlns:p="http://schemas.openxmlformats.org/presentationml/2006/main">
  <p:tag name="NAME" val="Moon"/>
</p:tagLst>
</file>

<file path=ppt/tags/tag394.xml><?xml version="1.0" encoding="utf-8"?>
<p:tagLst xmlns:a="http://schemas.openxmlformats.org/drawingml/2006/main" xmlns:r="http://schemas.openxmlformats.org/officeDocument/2006/relationships" xmlns:p="http://schemas.openxmlformats.org/presentationml/2006/main">
  <p:tag name="NAME" val="Moon"/>
</p:tagLst>
</file>

<file path=ppt/tags/tag395.xml><?xml version="1.0" encoding="utf-8"?>
<p:tagLst xmlns:a="http://schemas.openxmlformats.org/drawingml/2006/main" xmlns:r="http://schemas.openxmlformats.org/officeDocument/2006/relationships" xmlns:p="http://schemas.openxmlformats.org/presentationml/2006/main">
  <p:tag name="ANGLE" val="5"/>
</p:tagLst>
</file>

<file path=ppt/tags/tag396.xml><?xml version="1.0" encoding="utf-8"?>
<p:tagLst xmlns:a="http://schemas.openxmlformats.org/drawingml/2006/main" xmlns:r="http://schemas.openxmlformats.org/officeDocument/2006/relationships" xmlns:p="http://schemas.openxmlformats.org/presentationml/2006/main">
  <p:tag name="ANGLE" val="5"/>
</p:tagLst>
</file>

<file path=ppt/tags/tag397.xml><?xml version="1.0" encoding="utf-8"?>
<p:tagLst xmlns:a="http://schemas.openxmlformats.org/drawingml/2006/main" xmlns:r="http://schemas.openxmlformats.org/officeDocument/2006/relationships" xmlns:p="http://schemas.openxmlformats.org/presentationml/2006/main">
  <p:tag name="ANGLE" val="4"/>
</p:tagLst>
</file>

<file path=ppt/tags/tag398.xml><?xml version="1.0" encoding="utf-8"?>
<p:tagLst xmlns:a="http://schemas.openxmlformats.org/drawingml/2006/main" xmlns:r="http://schemas.openxmlformats.org/officeDocument/2006/relationships" xmlns:p="http://schemas.openxmlformats.org/presentationml/2006/main">
  <p:tag name="ANGLE" val="4"/>
</p:tagLst>
</file>

<file path=ppt/tags/tag399.xml><?xml version="1.0" encoding="utf-8"?>
<p:tagLst xmlns:a="http://schemas.openxmlformats.org/drawingml/2006/main" xmlns:r="http://schemas.openxmlformats.org/officeDocument/2006/relationships" xmlns:p="http://schemas.openxmlformats.org/presentationml/2006/main">
  <p:tag name="ANGLE" val="3"/>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00.xml><?xml version="1.0" encoding="utf-8"?>
<p:tagLst xmlns:a="http://schemas.openxmlformats.org/drawingml/2006/main" xmlns:r="http://schemas.openxmlformats.org/officeDocument/2006/relationships" xmlns:p="http://schemas.openxmlformats.org/presentationml/2006/main">
  <p:tag name="ANGLE" val="3"/>
</p:tagLst>
</file>

<file path=ppt/tags/tag401.xml><?xml version="1.0" encoding="utf-8"?>
<p:tagLst xmlns:a="http://schemas.openxmlformats.org/drawingml/2006/main" xmlns:r="http://schemas.openxmlformats.org/officeDocument/2006/relationships" xmlns:p="http://schemas.openxmlformats.org/presentationml/2006/main">
  <p:tag name="ANGLE" val="2"/>
</p:tagLst>
</file>

<file path=ppt/tags/tag402.xml><?xml version="1.0" encoding="utf-8"?>
<p:tagLst xmlns:a="http://schemas.openxmlformats.org/drawingml/2006/main" xmlns:r="http://schemas.openxmlformats.org/officeDocument/2006/relationships" xmlns:p="http://schemas.openxmlformats.org/presentationml/2006/main">
  <p:tag name="ANGLE" val="2"/>
</p:tagLst>
</file>

<file path=ppt/tags/tag403.xml><?xml version="1.0" encoding="utf-8"?>
<p:tagLst xmlns:a="http://schemas.openxmlformats.org/drawingml/2006/main" xmlns:r="http://schemas.openxmlformats.org/officeDocument/2006/relationships" xmlns:p="http://schemas.openxmlformats.org/presentationml/2006/main">
  <p:tag name="ANGLE" val="1"/>
</p:tagLst>
</file>

<file path=ppt/tags/tag404.xml><?xml version="1.0" encoding="utf-8"?>
<p:tagLst xmlns:a="http://schemas.openxmlformats.org/drawingml/2006/main" xmlns:r="http://schemas.openxmlformats.org/officeDocument/2006/relationships" xmlns:p="http://schemas.openxmlformats.org/presentationml/2006/main">
  <p:tag name="ANGLE" val="1"/>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407.xml><?xml version="1.0" encoding="utf-8"?>
<p:tagLst xmlns:a="http://schemas.openxmlformats.org/drawingml/2006/main" xmlns:r="http://schemas.openxmlformats.org/officeDocument/2006/relationships" xmlns:p="http://schemas.openxmlformats.org/presentationml/2006/main">
  <p:tag name="SHAPENAME" val="Title"/>
</p:tagLst>
</file>

<file path=ppt/tags/tag40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09.xml><?xml version="1.0" encoding="utf-8"?>
<p:tagLst xmlns:a="http://schemas.openxmlformats.org/drawingml/2006/main" xmlns:r="http://schemas.openxmlformats.org/officeDocument/2006/relationships" xmlns:p="http://schemas.openxmlformats.org/presentationml/2006/main">
  <p:tag name="SHAPENAME" val="Sub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1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7.xml><?xml version="1.0" encoding="utf-8"?>
<p:tagLst xmlns:a="http://schemas.openxmlformats.org/drawingml/2006/main" xmlns:r="http://schemas.openxmlformats.org/officeDocument/2006/relationships" xmlns:p="http://schemas.openxmlformats.org/presentationml/2006/main">
  <p:tag name="SHAPENAME" val="5. Source"/>
</p:tagLst>
</file>

<file path=ppt/tags/tag4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2.xml><?xml version="1.0" encoding="utf-8"?>
<p:tagLst xmlns:a="http://schemas.openxmlformats.org/drawingml/2006/main" xmlns:r="http://schemas.openxmlformats.org/officeDocument/2006/relationships" xmlns:p="http://schemas.openxmlformats.org/presentationml/2006/main">
  <p:tag name="SHAPENAME" val="5. Source"/>
</p:tagLst>
</file>

<file path=ppt/tags/tag4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4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8.xml><?xml version="1.0" encoding="utf-8"?>
<p:tagLst xmlns:a="http://schemas.openxmlformats.org/drawingml/2006/main" xmlns:r="http://schemas.openxmlformats.org/officeDocument/2006/relationships" xmlns:p="http://schemas.openxmlformats.org/presentationml/2006/main">
  <p:tag name="SHAPENAME" val="5. Source"/>
</p:tagLst>
</file>

<file path=ppt/tags/tag4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434.xml><?xml version="1.0" encoding="utf-8"?>
<p:tagLst xmlns:a="http://schemas.openxmlformats.org/drawingml/2006/main" xmlns:r="http://schemas.openxmlformats.org/officeDocument/2006/relationships" xmlns:p="http://schemas.openxmlformats.org/presentationml/2006/main">
  <p:tag name="SHAPENAME" val="5. Source"/>
</p:tagLst>
</file>

<file path=ppt/tags/tag4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0.xml><?xml version="1.0" encoding="utf-8"?>
<p:tagLst xmlns:a="http://schemas.openxmlformats.org/drawingml/2006/main" xmlns:r="http://schemas.openxmlformats.org/officeDocument/2006/relationships" xmlns:p="http://schemas.openxmlformats.org/presentationml/2006/main">
  <p:tag name="SHAPENAME" val="5. Source"/>
</p:tagLst>
</file>

<file path=ppt/tags/tag4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44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8.xml><?xml version="1.0" encoding="utf-8"?>
<p:tagLst xmlns:a="http://schemas.openxmlformats.org/drawingml/2006/main" xmlns:r="http://schemas.openxmlformats.org/officeDocument/2006/relationships" xmlns:p="http://schemas.openxmlformats.org/presentationml/2006/main">
  <p:tag name="SHAPENAME" val="5. Source"/>
</p:tagLst>
</file>

<file path=ppt/tags/tag4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4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56.xml><?xml version="1.0" encoding="utf-8"?>
<p:tagLst xmlns:a="http://schemas.openxmlformats.org/drawingml/2006/main" xmlns:r="http://schemas.openxmlformats.org/officeDocument/2006/relationships" xmlns:p="http://schemas.openxmlformats.org/presentationml/2006/main">
  <p:tag name="SHAPENAME" val="5. Source"/>
</p:tagLst>
</file>

<file path=ppt/tags/tag4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4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64.xml><?xml version="1.0" encoding="utf-8"?>
<p:tagLst xmlns:a="http://schemas.openxmlformats.org/drawingml/2006/main" xmlns:r="http://schemas.openxmlformats.org/officeDocument/2006/relationships" xmlns:p="http://schemas.openxmlformats.org/presentationml/2006/main">
  <p:tag name="SHAPENAME" val="5. Source"/>
</p:tagLst>
</file>

<file path=ppt/tags/tag4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4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72.xml><?xml version="1.0" encoding="utf-8"?>
<p:tagLst xmlns:a="http://schemas.openxmlformats.org/drawingml/2006/main" xmlns:r="http://schemas.openxmlformats.org/officeDocument/2006/relationships" xmlns:p="http://schemas.openxmlformats.org/presentationml/2006/main">
  <p:tag name="SHAPENAME" val="5. Source"/>
</p:tagLst>
</file>

<file path=ppt/tags/tag4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4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0.xml><?xml version="1.0" encoding="utf-8"?>
<p:tagLst xmlns:a="http://schemas.openxmlformats.org/drawingml/2006/main" xmlns:r="http://schemas.openxmlformats.org/officeDocument/2006/relationships" xmlns:p="http://schemas.openxmlformats.org/presentationml/2006/main">
  <p:tag name="SHAPENAME" val="5. Source"/>
</p:tagLst>
</file>

<file path=ppt/tags/tag4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4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8.xml><?xml version="1.0" encoding="utf-8"?>
<p:tagLst xmlns:a="http://schemas.openxmlformats.org/drawingml/2006/main" xmlns:r="http://schemas.openxmlformats.org/officeDocument/2006/relationships" xmlns:p="http://schemas.openxmlformats.org/presentationml/2006/main">
  <p:tag name="SHAPENAME" val="5. Source"/>
</p:tagLst>
</file>

<file path=ppt/tags/tag4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4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2.xml><?xml version="1.0" encoding="utf-8"?>
<p:tagLst xmlns:a="http://schemas.openxmlformats.org/drawingml/2006/main" xmlns:r="http://schemas.openxmlformats.org/officeDocument/2006/relationships" xmlns:p="http://schemas.openxmlformats.org/presentationml/2006/main">
  <p:tag name="SHAPENAME" val="5. Source"/>
</p:tagLst>
</file>

<file path=ppt/tags/tag4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SHAPENAME" val="5. Source"/>
</p:tagLst>
</file>

<file path=ppt/tags/tag4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0.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2.xml><?xml version="1.0" encoding="utf-8"?>
<p:tagLst xmlns:a="http://schemas.openxmlformats.org/drawingml/2006/main" xmlns:r="http://schemas.openxmlformats.org/officeDocument/2006/relationships" xmlns:p="http://schemas.openxmlformats.org/presentationml/2006/main">
  <p:tag name="SHAPENAME" val="Grid"/>
</p:tagLst>
</file>

<file path=ppt/tags/tag503.xml><?xml version="1.0" encoding="utf-8"?>
<p:tagLst xmlns:a="http://schemas.openxmlformats.org/drawingml/2006/main" xmlns:r="http://schemas.openxmlformats.org/officeDocument/2006/relationships" xmlns:p="http://schemas.openxmlformats.org/presentationml/2006/main">
  <p:tag name="NAME" val="ACET"/>
</p:tagLst>
</file>

<file path=ppt/tags/tag50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05.xml><?xml version="1.0" encoding="utf-8"?>
<p:tagLst xmlns:a="http://schemas.openxmlformats.org/drawingml/2006/main" xmlns:r="http://schemas.openxmlformats.org/officeDocument/2006/relationships" xmlns:p="http://schemas.openxmlformats.org/presentationml/2006/main">
  <p:tag name="NAME" val="Moon"/>
</p:tagLst>
</file>

<file path=ppt/tags/tag506.xml><?xml version="1.0" encoding="utf-8"?>
<p:tagLst xmlns:a="http://schemas.openxmlformats.org/drawingml/2006/main" xmlns:r="http://schemas.openxmlformats.org/officeDocument/2006/relationships" xmlns:p="http://schemas.openxmlformats.org/presentationml/2006/main">
  <p:tag name="NAME" val="Moon"/>
</p:tagLst>
</file>

<file path=ppt/tags/tag507.xml><?xml version="1.0" encoding="utf-8"?>
<p:tagLst xmlns:a="http://schemas.openxmlformats.org/drawingml/2006/main" xmlns:r="http://schemas.openxmlformats.org/officeDocument/2006/relationships" xmlns:p="http://schemas.openxmlformats.org/presentationml/2006/main">
  <p:tag name="NAME" val="Moon"/>
</p:tagLst>
</file>

<file path=ppt/tags/tag508.xml><?xml version="1.0" encoding="utf-8"?>
<p:tagLst xmlns:a="http://schemas.openxmlformats.org/drawingml/2006/main" xmlns:r="http://schemas.openxmlformats.org/officeDocument/2006/relationships" xmlns:p="http://schemas.openxmlformats.org/presentationml/2006/main">
  <p:tag name="NAME" val="Moon"/>
</p:tagLst>
</file>

<file path=ppt/tags/tag509.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0.xml><?xml version="1.0" encoding="utf-8"?>
<p:tagLst xmlns:a="http://schemas.openxmlformats.org/drawingml/2006/main" xmlns:r="http://schemas.openxmlformats.org/officeDocument/2006/relationships" xmlns:p="http://schemas.openxmlformats.org/presentationml/2006/main">
  <p:tag name="ANGLE" val="5"/>
</p:tagLst>
</file>

<file path=ppt/tags/tag511.xml><?xml version="1.0" encoding="utf-8"?>
<p:tagLst xmlns:a="http://schemas.openxmlformats.org/drawingml/2006/main" xmlns:r="http://schemas.openxmlformats.org/officeDocument/2006/relationships" xmlns:p="http://schemas.openxmlformats.org/presentationml/2006/main">
  <p:tag name="ANGLE" val="5"/>
</p:tagLst>
</file>

<file path=ppt/tags/tag512.xml><?xml version="1.0" encoding="utf-8"?>
<p:tagLst xmlns:a="http://schemas.openxmlformats.org/drawingml/2006/main" xmlns:r="http://schemas.openxmlformats.org/officeDocument/2006/relationships" xmlns:p="http://schemas.openxmlformats.org/presentationml/2006/main">
  <p:tag name="ANGLE" val="4"/>
</p:tagLst>
</file>

<file path=ppt/tags/tag513.xml><?xml version="1.0" encoding="utf-8"?>
<p:tagLst xmlns:a="http://schemas.openxmlformats.org/drawingml/2006/main" xmlns:r="http://schemas.openxmlformats.org/officeDocument/2006/relationships" xmlns:p="http://schemas.openxmlformats.org/presentationml/2006/main">
  <p:tag name="ANGLE" val="4"/>
</p:tagLst>
</file>

<file path=ppt/tags/tag514.xml><?xml version="1.0" encoding="utf-8"?>
<p:tagLst xmlns:a="http://schemas.openxmlformats.org/drawingml/2006/main" xmlns:r="http://schemas.openxmlformats.org/officeDocument/2006/relationships" xmlns:p="http://schemas.openxmlformats.org/presentationml/2006/main">
  <p:tag name="ANGLE" val="3"/>
</p:tagLst>
</file>

<file path=ppt/tags/tag515.xml><?xml version="1.0" encoding="utf-8"?>
<p:tagLst xmlns:a="http://schemas.openxmlformats.org/drawingml/2006/main" xmlns:r="http://schemas.openxmlformats.org/officeDocument/2006/relationships" xmlns:p="http://schemas.openxmlformats.org/presentationml/2006/main">
  <p:tag name="ANGLE" val="3"/>
</p:tagLst>
</file>

<file path=ppt/tags/tag516.xml><?xml version="1.0" encoding="utf-8"?>
<p:tagLst xmlns:a="http://schemas.openxmlformats.org/drawingml/2006/main" xmlns:r="http://schemas.openxmlformats.org/officeDocument/2006/relationships" xmlns:p="http://schemas.openxmlformats.org/presentationml/2006/main">
  <p:tag name="ANGLE" val="2"/>
</p:tagLst>
</file>

<file path=ppt/tags/tag517.xml><?xml version="1.0" encoding="utf-8"?>
<p:tagLst xmlns:a="http://schemas.openxmlformats.org/drawingml/2006/main" xmlns:r="http://schemas.openxmlformats.org/officeDocument/2006/relationships" xmlns:p="http://schemas.openxmlformats.org/presentationml/2006/main">
  <p:tag name="ANGLE" val="2"/>
</p:tagLst>
</file>

<file path=ppt/tags/tag518.xml><?xml version="1.0" encoding="utf-8"?>
<p:tagLst xmlns:a="http://schemas.openxmlformats.org/drawingml/2006/main" xmlns:r="http://schemas.openxmlformats.org/officeDocument/2006/relationships" xmlns:p="http://schemas.openxmlformats.org/presentationml/2006/main">
  <p:tag name="ANGLE" val="1"/>
</p:tagLst>
</file>

<file path=ppt/tags/tag519.xml><?xml version="1.0" encoding="utf-8"?>
<p:tagLst xmlns:a="http://schemas.openxmlformats.org/drawingml/2006/main" xmlns:r="http://schemas.openxmlformats.org/officeDocument/2006/relationships" xmlns:p="http://schemas.openxmlformats.org/presentationml/2006/main">
  <p:tag name="ANGLE" val="1"/>
</p:tagLst>
</file>

<file path=ppt/tags/tag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522.xml><?xml version="1.0" encoding="utf-8"?>
<p:tagLst xmlns:a="http://schemas.openxmlformats.org/drawingml/2006/main" xmlns:r="http://schemas.openxmlformats.org/officeDocument/2006/relationships" xmlns:p="http://schemas.openxmlformats.org/presentationml/2006/main">
  <p:tag name="SHAPENAME" val="Title"/>
</p:tagLst>
</file>

<file path=ppt/tags/tag5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24.xml><?xml version="1.0" encoding="utf-8"?>
<p:tagLst xmlns:a="http://schemas.openxmlformats.org/drawingml/2006/main" xmlns:r="http://schemas.openxmlformats.org/officeDocument/2006/relationships" xmlns:p="http://schemas.openxmlformats.org/presentationml/2006/main">
  <p:tag name="SHAPENAME" val="Subtitle"/>
</p:tagLst>
</file>

<file path=ppt/tags/tag5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529.xml><?xml version="1.0" encoding="utf-8"?>
<p:tagLst xmlns:a="http://schemas.openxmlformats.org/drawingml/2006/main" xmlns:r="http://schemas.openxmlformats.org/officeDocument/2006/relationships" xmlns:p="http://schemas.openxmlformats.org/presentationml/2006/main">
  <p:tag name="SHAPENAME" val="Titl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1.xml><?xml version="1.0" encoding="utf-8"?>
<p:tagLst xmlns:a="http://schemas.openxmlformats.org/drawingml/2006/main" xmlns:r="http://schemas.openxmlformats.org/officeDocument/2006/relationships" xmlns:p="http://schemas.openxmlformats.org/presentationml/2006/main">
  <p:tag name="SHAPENAME" val="Subtitle"/>
</p:tagLst>
</file>

<file path=ppt/tags/tag53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4.xml><?xml version="1.0" encoding="utf-8"?>
<p:tagLst xmlns:a="http://schemas.openxmlformats.org/drawingml/2006/main" xmlns:r="http://schemas.openxmlformats.org/officeDocument/2006/relationships" xmlns:p="http://schemas.openxmlformats.org/presentationml/2006/main">
  <p:tag name="MM_SLIDE_TYPE" val="6"/>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5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40.xml><?xml version="1.0" encoding="utf-8"?>
<p:tagLst xmlns:a="http://schemas.openxmlformats.org/drawingml/2006/main" xmlns:r="http://schemas.openxmlformats.org/officeDocument/2006/relationships" xmlns:p="http://schemas.openxmlformats.org/presentationml/2006/main">
  <p:tag name="SHAPENAME" val="5. Source"/>
</p:tagLst>
</file>

<file path=ppt/tags/tag5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5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5.xml><?xml version="1.0" encoding="utf-8"?>
<p:tagLst xmlns:a="http://schemas.openxmlformats.org/drawingml/2006/main" xmlns:r="http://schemas.openxmlformats.org/officeDocument/2006/relationships" xmlns:p="http://schemas.openxmlformats.org/presentationml/2006/main">
  <p:tag name="SHAPENAME" val="5. Source"/>
</p:tagLst>
</file>

<file path=ppt/tags/tag5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2.xml><?xml version="1.0" encoding="utf-8"?>
<p:tagLst xmlns:a="http://schemas.openxmlformats.org/drawingml/2006/main" xmlns:r="http://schemas.openxmlformats.org/officeDocument/2006/relationships" xmlns:p="http://schemas.openxmlformats.org/presentationml/2006/main">
  <p:tag name="SHAPENAME" val="5. Source"/>
</p:tagLst>
</file>

<file path=ppt/tags/tag5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5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9.xml><?xml version="1.0" encoding="utf-8"?>
<p:tagLst xmlns:a="http://schemas.openxmlformats.org/drawingml/2006/main" xmlns:r="http://schemas.openxmlformats.org/officeDocument/2006/relationships" xmlns:p="http://schemas.openxmlformats.org/presentationml/2006/main">
  <p:tag name="SHAPENAME" val="5. Source"/>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5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6.xml><?xml version="1.0" encoding="utf-8"?>
<p:tagLst xmlns:a="http://schemas.openxmlformats.org/drawingml/2006/main" xmlns:r="http://schemas.openxmlformats.org/officeDocument/2006/relationships" xmlns:p="http://schemas.openxmlformats.org/presentationml/2006/main">
  <p:tag name="SHAPENAME" val="5. Source"/>
</p:tagLst>
</file>

<file path=ppt/tags/tag5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57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5.xml><?xml version="1.0" encoding="utf-8"?>
<p:tagLst xmlns:a="http://schemas.openxmlformats.org/drawingml/2006/main" xmlns:r="http://schemas.openxmlformats.org/officeDocument/2006/relationships" xmlns:p="http://schemas.openxmlformats.org/presentationml/2006/main">
  <p:tag name="SHAPENAME" val="5. Source"/>
</p:tagLst>
</file>

<file path=ppt/tags/tag5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58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4.xml><?xml version="1.0" encoding="utf-8"?>
<p:tagLst xmlns:a="http://schemas.openxmlformats.org/drawingml/2006/main" xmlns:r="http://schemas.openxmlformats.org/officeDocument/2006/relationships" xmlns:p="http://schemas.openxmlformats.org/presentationml/2006/main">
  <p:tag name="SHAPENAME" val="5. Source"/>
</p:tagLst>
</file>

<file path=ppt/tags/tag5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5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3.xml><?xml version="1.0" encoding="utf-8"?>
<p:tagLst xmlns:a="http://schemas.openxmlformats.org/drawingml/2006/main" xmlns:r="http://schemas.openxmlformats.org/officeDocument/2006/relationships" xmlns:p="http://schemas.openxmlformats.org/presentationml/2006/main">
  <p:tag name="SHAPENAME" val="5. Source"/>
</p:tagLst>
</file>

<file path=ppt/tags/tag5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6.xml><?xml version="1.0" encoding="utf-8"?>
<p:tagLst xmlns:a="http://schemas.openxmlformats.org/drawingml/2006/main" xmlns:r="http://schemas.openxmlformats.org/officeDocument/2006/relationships" xmlns:p="http://schemas.openxmlformats.org/presentationml/2006/main">
  <p:tag name="SHAPENAME" val="Grid"/>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2.xml><?xml version="1.0" encoding="utf-8"?>
<p:tagLst xmlns:a="http://schemas.openxmlformats.org/drawingml/2006/main" xmlns:r="http://schemas.openxmlformats.org/officeDocument/2006/relationships" xmlns:p="http://schemas.openxmlformats.org/presentationml/2006/main">
  <p:tag name="SHAPENAME" val="5. Source"/>
</p:tagLst>
</file>

<file path=ppt/tags/tag6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6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1.xml><?xml version="1.0" encoding="utf-8"?>
<p:tagLst xmlns:a="http://schemas.openxmlformats.org/drawingml/2006/main" xmlns:r="http://schemas.openxmlformats.org/officeDocument/2006/relationships" xmlns:p="http://schemas.openxmlformats.org/presentationml/2006/main">
  <p:tag name="SHAPENAME" val="5. Source"/>
</p:tagLst>
</file>

<file path=ppt/tags/tag6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6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0.xml><?xml version="1.0" encoding="utf-8"?>
<p:tagLst xmlns:a="http://schemas.openxmlformats.org/drawingml/2006/main" xmlns:r="http://schemas.openxmlformats.org/officeDocument/2006/relationships" xmlns:p="http://schemas.openxmlformats.org/presentationml/2006/main">
  <p:tag name="SHAPENAME" val="5. Source"/>
</p:tagLst>
</file>

<file path=ppt/tags/tag6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5.xml><?xml version="1.0" encoding="utf-8"?>
<p:tagLst xmlns:a="http://schemas.openxmlformats.org/drawingml/2006/main" xmlns:r="http://schemas.openxmlformats.org/officeDocument/2006/relationships" xmlns:p="http://schemas.openxmlformats.org/presentationml/2006/main">
  <p:tag name="SHAPENAME" val="5. Source"/>
</p:tagLst>
</file>

<file path=ppt/tags/tag6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9.xml><?xml version="1.0" encoding="utf-8"?>
<p:tagLst xmlns:a="http://schemas.openxmlformats.org/drawingml/2006/main" xmlns:r="http://schemas.openxmlformats.org/officeDocument/2006/relationships" xmlns:p="http://schemas.openxmlformats.org/presentationml/2006/main">
  <p:tag name="SHAPENAME" val="5. Source"/>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3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633.xml><?xml version="1.0" encoding="utf-8"?>
<p:tagLst xmlns:a="http://schemas.openxmlformats.org/drawingml/2006/main" xmlns:r="http://schemas.openxmlformats.org/officeDocument/2006/relationships" xmlns:p="http://schemas.openxmlformats.org/presentationml/2006/main">
  <p:tag name="SHAPENAME" val="4. Footnote"/>
</p:tagLst>
</file>

<file path=ppt/tags/tag6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5.xml><?xml version="1.0" encoding="utf-8"?>
<p:tagLst xmlns:a="http://schemas.openxmlformats.org/drawingml/2006/main" xmlns:r="http://schemas.openxmlformats.org/officeDocument/2006/relationships" xmlns:p="http://schemas.openxmlformats.org/presentationml/2006/main">
  <p:tag name="SHAPENAME" val="Grid"/>
</p:tagLst>
</file>

<file path=ppt/tags/tag636.xml><?xml version="1.0" encoding="utf-8"?>
<p:tagLst xmlns:a="http://schemas.openxmlformats.org/drawingml/2006/main" xmlns:r="http://schemas.openxmlformats.org/officeDocument/2006/relationships" xmlns:p="http://schemas.openxmlformats.org/presentationml/2006/main">
  <p:tag name="NAME" val="ACET"/>
</p:tagLst>
</file>

<file path=ppt/tags/tag637.xml><?xml version="1.0" encoding="utf-8"?>
<p:tagLst xmlns:a="http://schemas.openxmlformats.org/drawingml/2006/main" xmlns:r="http://schemas.openxmlformats.org/officeDocument/2006/relationships" xmlns:p="http://schemas.openxmlformats.org/presentationml/2006/main">
  <p:tag name="NAME" val="Moon"/>
</p:tagLst>
</file>

<file path=ppt/tags/tag638.xml><?xml version="1.0" encoding="utf-8"?>
<p:tagLst xmlns:a="http://schemas.openxmlformats.org/drawingml/2006/main" xmlns:r="http://schemas.openxmlformats.org/officeDocument/2006/relationships" xmlns:p="http://schemas.openxmlformats.org/presentationml/2006/main">
  <p:tag name="NAME" val="Moon"/>
</p:tagLst>
</file>

<file path=ppt/tags/tag639.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0.xml><?xml version="1.0" encoding="utf-8"?>
<p:tagLst xmlns:a="http://schemas.openxmlformats.org/drawingml/2006/main" xmlns:r="http://schemas.openxmlformats.org/officeDocument/2006/relationships" xmlns:p="http://schemas.openxmlformats.org/presentationml/2006/main">
  <p:tag name="NAME" val="Moon"/>
</p:tagLst>
</file>

<file path=ppt/tags/tag641.xml><?xml version="1.0" encoding="utf-8"?>
<p:tagLst xmlns:a="http://schemas.openxmlformats.org/drawingml/2006/main" xmlns:r="http://schemas.openxmlformats.org/officeDocument/2006/relationships" xmlns:p="http://schemas.openxmlformats.org/presentationml/2006/main">
  <p:tag name="NAME" val="Moon"/>
</p:tagLst>
</file>

<file path=ppt/tags/tag642.xml><?xml version="1.0" encoding="utf-8"?>
<p:tagLst xmlns:a="http://schemas.openxmlformats.org/drawingml/2006/main" xmlns:r="http://schemas.openxmlformats.org/officeDocument/2006/relationships" xmlns:p="http://schemas.openxmlformats.org/presentationml/2006/main">
  <p:tag name="ANGLE" val="5"/>
</p:tagLst>
</file>

<file path=ppt/tags/tag643.xml><?xml version="1.0" encoding="utf-8"?>
<p:tagLst xmlns:a="http://schemas.openxmlformats.org/drawingml/2006/main" xmlns:r="http://schemas.openxmlformats.org/officeDocument/2006/relationships" xmlns:p="http://schemas.openxmlformats.org/presentationml/2006/main">
  <p:tag name="ANGLE" val="5"/>
</p:tagLst>
</file>

<file path=ppt/tags/tag644.xml><?xml version="1.0" encoding="utf-8"?>
<p:tagLst xmlns:a="http://schemas.openxmlformats.org/drawingml/2006/main" xmlns:r="http://schemas.openxmlformats.org/officeDocument/2006/relationships" xmlns:p="http://schemas.openxmlformats.org/presentationml/2006/main">
  <p:tag name="ANGLE" val="4"/>
</p:tagLst>
</file>

<file path=ppt/tags/tag645.xml><?xml version="1.0" encoding="utf-8"?>
<p:tagLst xmlns:a="http://schemas.openxmlformats.org/drawingml/2006/main" xmlns:r="http://schemas.openxmlformats.org/officeDocument/2006/relationships" xmlns:p="http://schemas.openxmlformats.org/presentationml/2006/main">
  <p:tag name="ANGLE" val="4"/>
</p:tagLst>
</file>

<file path=ppt/tags/tag646.xml><?xml version="1.0" encoding="utf-8"?>
<p:tagLst xmlns:a="http://schemas.openxmlformats.org/drawingml/2006/main" xmlns:r="http://schemas.openxmlformats.org/officeDocument/2006/relationships" xmlns:p="http://schemas.openxmlformats.org/presentationml/2006/main">
  <p:tag name="ANGLE" val="3"/>
</p:tagLst>
</file>

<file path=ppt/tags/tag647.xml><?xml version="1.0" encoding="utf-8"?>
<p:tagLst xmlns:a="http://schemas.openxmlformats.org/drawingml/2006/main" xmlns:r="http://schemas.openxmlformats.org/officeDocument/2006/relationships" xmlns:p="http://schemas.openxmlformats.org/presentationml/2006/main">
  <p:tag name="ANGLE" val="3"/>
</p:tagLst>
</file>

<file path=ppt/tags/tag648.xml><?xml version="1.0" encoding="utf-8"?>
<p:tagLst xmlns:a="http://schemas.openxmlformats.org/drawingml/2006/main" xmlns:r="http://schemas.openxmlformats.org/officeDocument/2006/relationships" xmlns:p="http://schemas.openxmlformats.org/presentationml/2006/main">
  <p:tag name="ANGLE" val="2"/>
</p:tagLst>
</file>

<file path=ppt/tags/tag649.xml><?xml version="1.0" encoding="utf-8"?>
<p:tagLst xmlns:a="http://schemas.openxmlformats.org/drawingml/2006/main" xmlns:r="http://schemas.openxmlformats.org/officeDocument/2006/relationships" xmlns:p="http://schemas.openxmlformats.org/presentationml/2006/main">
  <p:tag name="ANGLE" val="2"/>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0.xml><?xml version="1.0" encoding="utf-8"?>
<p:tagLst xmlns:a="http://schemas.openxmlformats.org/drawingml/2006/main" xmlns:r="http://schemas.openxmlformats.org/officeDocument/2006/relationships" xmlns:p="http://schemas.openxmlformats.org/presentationml/2006/main">
  <p:tag name="ANGLE" val="1"/>
</p:tagLst>
</file>

<file path=ppt/tags/tag651.xml><?xml version="1.0" encoding="utf-8"?>
<p:tagLst xmlns:a="http://schemas.openxmlformats.org/drawingml/2006/main" xmlns:r="http://schemas.openxmlformats.org/officeDocument/2006/relationships" xmlns:p="http://schemas.openxmlformats.org/presentationml/2006/main">
  <p:tag name="ANGLE" val="1"/>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654.xml><?xml version="1.0" encoding="utf-8"?>
<p:tagLst xmlns:a="http://schemas.openxmlformats.org/drawingml/2006/main" xmlns:r="http://schemas.openxmlformats.org/officeDocument/2006/relationships" xmlns:p="http://schemas.openxmlformats.org/presentationml/2006/main">
  <p:tag name="SHAPENAME" val="Title"/>
</p:tagLst>
</file>

<file path=ppt/tags/tag65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56.xml><?xml version="1.0" encoding="utf-8"?>
<p:tagLst xmlns:a="http://schemas.openxmlformats.org/drawingml/2006/main" xmlns:r="http://schemas.openxmlformats.org/officeDocument/2006/relationships" xmlns:p="http://schemas.openxmlformats.org/presentationml/2006/main">
  <p:tag name="SHAPENAME" val="Subtitle"/>
</p:tagLst>
</file>

<file path=ppt/tags/tag65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5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6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4.xml><?xml version="1.0" encoding="utf-8"?>
<p:tagLst xmlns:a="http://schemas.openxmlformats.org/drawingml/2006/main" xmlns:r="http://schemas.openxmlformats.org/officeDocument/2006/relationships" xmlns:p="http://schemas.openxmlformats.org/presentationml/2006/main">
  <p:tag name="SHAPENAME" val="5. Source"/>
</p:tagLst>
</file>

<file path=ppt/tags/tag6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6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9.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6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5.xml><?xml version="1.0" encoding="utf-8"?>
<p:tagLst xmlns:a="http://schemas.openxmlformats.org/drawingml/2006/main" xmlns:r="http://schemas.openxmlformats.org/officeDocument/2006/relationships" xmlns:p="http://schemas.openxmlformats.org/presentationml/2006/main">
  <p:tag name="SHAPENAME" val="5. Source"/>
</p:tagLst>
</file>

<file path=ppt/tags/tag6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81.xml><?xml version="1.0" encoding="utf-8"?>
<p:tagLst xmlns:a="http://schemas.openxmlformats.org/drawingml/2006/main" xmlns:r="http://schemas.openxmlformats.org/officeDocument/2006/relationships" xmlns:p="http://schemas.openxmlformats.org/presentationml/2006/main">
  <p:tag name="SHAPENAME" val="5. Source"/>
</p:tagLst>
</file>

<file path=ppt/tags/tag6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87.xml><?xml version="1.0" encoding="utf-8"?>
<p:tagLst xmlns:a="http://schemas.openxmlformats.org/drawingml/2006/main" xmlns:r="http://schemas.openxmlformats.org/officeDocument/2006/relationships" xmlns:p="http://schemas.openxmlformats.org/presentationml/2006/main">
  <p:tag name="SHAPENAME" val="5. Source"/>
</p:tagLst>
</file>

<file path=ppt/tags/tag6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6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5.xml><?xml version="1.0" encoding="utf-8"?>
<p:tagLst xmlns:a="http://schemas.openxmlformats.org/drawingml/2006/main" xmlns:r="http://schemas.openxmlformats.org/officeDocument/2006/relationships" xmlns:p="http://schemas.openxmlformats.org/presentationml/2006/main">
  <p:tag name="SHAPENAME" val="5. Source"/>
</p:tagLst>
</file>

<file path=ppt/tags/tag6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7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03.xml><?xml version="1.0" encoding="utf-8"?>
<p:tagLst xmlns:a="http://schemas.openxmlformats.org/drawingml/2006/main" xmlns:r="http://schemas.openxmlformats.org/officeDocument/2006/relationships" xmlns:p="http://schemas.openxmlformats.org/presentationml/2006/main">
  <p:tag name="SHAPENAME" val="5. Source"/>
</p:tagLst>
</file>

<file path=ppt/tags/tag7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1.xml><?xml version="1.0" encoding="utf-8"?>
<p:tagLst xmlns:a="http://schemas.openxmlformats.org/drawingml/2006/main" xmlns:r="http://schemas.openxmlformats.org/officeDocument/2006/relationships" xmlns:p="http://schemas.openxmlformats.org/presentationml/2006/main">
  <p:tag name="SHAPENAME" val="5. Source"/>
</p:tagLst>
</file>

<file path=ppt/tags/tag7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7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9.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7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27.xml><?xml version="1.0" encoding="utf-8"?>
<p:tagLst xmlns:a="http://schemas.openxmlformats.org/drawingml/2006/main" xmlns:r="http://schemas.openxmlformats.org/officeDocument/2006/relationships" xmlns:p="http://schemas.openxmlformats.org/presentationml/2006/main">
  <p:tag name="SHAPENAME" val="5. Source"/>
</p:tagLst>
</file>

<file path=ppt/tags/tag7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7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5.xml><?xml version="1.0" encoding="utf-8"?>
<p:tagLst xmlns:a="http://schemas.openxmlformats.org/drawingml/2006/main" xmlns:r="http://schemas.openxmlformats.org/officeDocument/2006/relationships" xmlns:p="http://schemas.openxmlformats.org/presentationml/2006/main">
  <p:tag name="SHAPENAME" val="5. Source"/>
</p:tagLst>
</file>

<file path=ppt/tags/tag7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SHAPENAME" val="5. Source"/>
</p:tagLst>
</file>

<file path=ppt/tags/tag7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74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9.xml><?xml version="1.0" encoding="utf-8"?>
<p:tagLst xmlns:a="http://schemas.openxmlformats.org/drawingml/2006/main" xmlns:r="http://schemas.openxmlformats.org/officeDocument/2006/relationships" xmlns:p="http://schemas.openxmlformats.org/presentationml/2006/main">
  <p:tag name="SHAPENAME" val="Grid"/>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NAME" val="ACET"/>
</p:tagLst>
</file>

<file path=ppt/tags/tag75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2.xml><?xml version="1.0" encoding="utf-8"?>
<p:tagLst xmlns:a="http://schemas.openxmlformats.org/drawingml/2006/main" xmlns:r="http://schemas.openxmlformats.org/officeDocument/2006/relationships" xmlns:p="http://schemas.openxmlformats.org/presentationml/2006/main">
  <p:tag name="NAME" val="Moon"/>
</p:tagLst>
</file>

<file path=ppt/tags/tag753.xml><?xml version="1.0" encoding="utf-8"?>
<p:tagLst xmlns:a="http://schemas.openxmlformats.org/drawingml/2006/main" xmlns:r="http://schemas.openxmlformats.org/officeDocument/2006/relationships" xmlns:p="http://schemas.openxmlformats.org/presentationml/2006/main">
  <p:tag name="NAME" val="Moon"/>
</p:tagLst>
</file>

<file path=ppt/tags/tag754.xml><?xml version="1.0" encoding="utf-8"?>
<p:tagLst xmlns:a="http://schemas.openxmlformats.org/drawingml/2006/main" xmlns:r="http://schemas.openxmlformats.org/officeDocument/2006/relationships" xmlns:p="http://schemas.openxmlformats.org/presentationml/2006/main">
  <p:tag name="NAME" val="Moon"/>
</p:tagLst>
</file>

<file path=ppt/tags/tag755.xml><?xml version="1.0" encoding="utf-8"?>
<p:tagLst xmlns:a="http://schemas.openxmlformats.org/drawingml/2006/main" xmlns:r="http://schemas.openxmlformats.org/officeDocument/2006/relationships" xmlns:p="http://schemas.openxmlformats.org/presentationml/2006/main">
  <p:tag name="NAME" val="Moon"/>
</p:tagLst>
</file>

<file path=ppt/tags/tag756.xml><?xml version="1.0" encoding="utf-8"?>
<p:tagLst xmlns:a="http://schemas.openxmlformats.org/drawingml/2006/main" xmlns:r="http://schemas.openxmlformats.org/officeDocument/2006/relationships" xmlns:p="http://schemas.openxmlformats.org/presentationml/2006/main">
  <p:tag name="NAME" val="Moon"/>
</p:tagLst>
</file>

<file path=ppt/tags/tag757.xml><?xml version="1.0" encoding="utf-8"?>
<p:tagLst xmlns:a="http://schemas.openxmlformats.org/drawingml/2006/main" xmlns:r="http://schemas.openxmlformats.org/officeDocument/2006/relationships" xmlns:p="http://schemas.openxmlformats.org/presentationml/2006/main">
  <p:tag name="ANGLE" val="5"/>
</p:tagLst>
</file>

<file path=ppt/tags/tag758.xml><?xml version="1.0" encoding="utf-8"?>
<p:tagLst xmlns:a="http://schemas.openxmlformats.org/drawingml/2006/main" xmlns:r="http://schemas.openxmlformats.org/officeDocument/2006/relationships" xmlns:p="http://schemas.openxmlformats.org/presentationml/2006/main">
  <p:tag name="ANGLE" val="5"/>
</p:tagLst>
</file>

<file path=ppt/tags/tag759.xml><?xml version="1.0" encoding="utf-8"?>
<p:tagLst xmlns:a="http://schemas.openxmlformats.org/drawingml/2006/main" xmlns:r="http://schemas.openxmlformats.org/officeDocument/2006/relationships" xmlns:p="http://schemas.openxmlformats.org/presentationml/2006/main">
  <p:tag name="ANGLE" val="4"/>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60.xml><?xml version="1.0" encoding="utf-8"?>
<p:tagLst xmlns:a="http://schemas.openxmlformats.org/drawingml/2006/main" xmlns:r="http://schemas.openxmlformats.org/officeDocument/2006/relationships" xmlns:p="http://schemas.openxmlformats.org/presentationml/2006/main">
  <p:tag name="ANGLE" val="4"/>
</p:tagLst>
</file>

<file path=ppt/tags/tag761.xml><?xml version="1.0" encoding="utf-8"?>
<p:tagLst xmlns:a="http://schemas.openxmlformats.org/drawingml/2006/main" xmlns:r="http://schemas.openxmlformats.org/officeDocument/2006/relationships" xmlns:p="http://schemas.openxmlformats.org/presentationml/2006/main">
  <p:tag name="ANGLE" val="3"/>
</p:tagLst>
</file>

<file path=ppt/tags/tag762.xml><?xml version="1.0" encoding="utf-8"?>
<p:tagLst xmlns:a="http://schemas.openxmlformats.org/drawingml/2006/main" xmlns:r="http://schemas.openxmlformats.org/officeDocument/2006/relationships" xmlns:p="http://schemas.openxmlformats.org/presentationml/2006/main">
  <p:tag name="ANGLE" val="3"/>
</p:tagLst>
</file>

<file path=ppt/tags/tag763.xml><?xml version="1.0" encoding="utf-8"?>
<p:tagLst xmlns:a="http://schemas.openxmlformats.org/drawingml/2006/main" xmlns:r="http://schemas.openxmlformats.org/officeDocument/2006/relationships" xmlns:p="http://schemas.openxmlformats.org/presentationml/2006/main">
  <p:tag name="ANGLE" val="2"/>
</p:tagLst>
</file>

<file path=ppt/tags/tag764.xml><?xml version="1.0" encoding="utf-8"?>
<p:tagLst xmlns:a="http://schemas.openxmlformats.org/drawingml/2006/main" xmlns:r="http://schemas.openxmlformats.org/officeDocument/2006/relationships" xmlns:p="http://schemas.openxmlformats.org/presentationml/2006/main">
  <p:tag name="ANGLE" val="2"/>
</p:tagLst>
</file>

<file path=ppt/tags/tag765.xml><?xml version="1.0" encoding="utf-8"?>
<p:tagLst xmlns:a="http://schemas.openxmlformats.org/drawingml/2006/main" xmlns:r="http://schemas.openxmlformats.org/officeDocument/2006/relationships" xmlns:p="http://schemas.openxmlformats.org/presentationml/2006/main">
  <p:tag name="ANGLE" val="1"/>
</p:tagLst>
</file>

<file path=ppt/tags/tag766.xml><?xml version="1.0" encoding="utf-8"?>
<p:tagLst xmlns:a="http://schemas.openxmlformats.org/drawingml/2006/main" xmlns:r="http://schemas.openxmlformats.org/officeDocument/2006/relationships" xmlns:p="http://schemas.openxmlformats.org/presentationml/2006/main">
  <p:tag name="ANGLE" val="1"/>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769.xml><?xml version="1.0" encoding="utf-8"?>
<p:tagLst xmlns:a="http://schemas.openxmlformats.org/drawingml/2006/main" xmlns:r="http://schemas.openxmlformats.org/officeDocument/2006/relationships" xmlns:p="http://schemas.openxmlformats.org/presentationml/2006/main">
  <p:tag name="SHAPENAME" val="Title"/>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71.xml><?xml version="1.0" encoding="utf-8"?>
<p:tagLst xmlns:a="http://schemas.openxmlformats.org/drawingml/2006/main" xmlns:r="http://schemas.openxmlformats.org/officeDocument/2006/relationships" xmlns:p="http://schemas.openxmlformats.org/presentationml/2006/main">
  <p:tag name="SHAPENAME" val="Subtitle"/>
</p:tagLst>
</file>

<file path=ppt/tags/tag77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776.xml><?xml version="1.0" encoding="utf-8"?>
<p:tagLst xmlns:a="http://schemas.openxmlformats.org/drawingml/2006/main" xmlns:r="http://schemas.openxmlformats.org/officeDocument/2006/relationships" xmlns:p="http://schemas.openxmlformats.org/presentationml/2006/main">
  <p:tag name="SHAPENAME" val="Title"/>
</p:tagLst>
</file>

<file path=ppt/tags/tag77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78.xml><?xml version="1.0" encoding="utf-8"?>
<p:tagLst xmlns:a="http://schemas.openxmlformats.org/drawingml/2006/main" xmlns:r="http://schemas.openxmlformats.org/officeDocument/2006/relationships" xmlns:p="http://schemas.openxmlformats.org/presentationml/2006/main">
  <p:tag name="SHAPENAME" val="Subtitle"/>
</p:tagLst>
</file>

<file path=ppt/tags/tag77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81.xml><?xml version="1.0" encoding="utf-8"?>
<p:tagLst xmlns:a="http://schemas.openxmlformats.org/drawingml/2006/main" xmlns:r="http://schemas.openxmlformats.org/officeDocument/2006/relationships" xmlns:p="http://schemas.openxmlformats.org/presentationml/2006/main">
  <p:tag name="MM_SLIDE_TYPE" val="6"/>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7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7.xml><?xml version="1.0" encoding="utf-8"?>
<p:tagLst xmlns:a="http://schemas.openxmlformats.org/drawingml/2006/main" xmlns:r="http://schemas.openxmlformats.org/officeDocument/2006/relationships" xmlns:p="http://schemas.openxmlformats.org/presentationml/2006/main">
  <p:tag name="SHAPENAME" val="5. Source"/>
</p:tagLst>
</file>

<file path=ppt/tags/tag7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7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2.xml><?xml version="1.0" encoding="utf-8"?>
<p:tagLst xmlns:a="http://schemas.openxmlformats.org/drawingml/2006/main" xmlns:r="http://schemas.openxmlformats.org/officeDocument/2006/relationships" xmlns:p="http://schemas.openxmlformats.org/presentationml/2006/main">
  <p:tag name="SHAPENAME" val="5. Source"/>
</p:tagLst>
</file>

<file path=ppt/tags/tag7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7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8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6.xml><?xml version="1.0" encoding="utf-8"?>
<p:tagLst xmlns:a="http://schemas.openxmlformats.org/drawingml/2006/main" xmlns:r="http://schemas.openxmlformats.org/officeDocument/2006/relationships" xmlns:p="http://schemas.openxmlformats.org/presentationml/2006/main">
  <p:tag name="SHAPENAME" val="5. Source"/>
</p:tagLst>
</file>

<file path=ppt/tags/tag8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8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3.xml><?xml version="1.0" encoding="utf-8"?>
<p:tagLst xmlns:a="http://schemas.openxmlformats.org/drawingml/2006/main" xmlns:r="http://schemas.openxmlformats.org/officeDocument/2006/relationships" xmlns:p="http://schemas.openxmlformats.org/presentationml/2006/main">
  <p:tag name="SHAPENAME" val="5. Source"/>
</p:tagLst>
</file>

<file path=ppt/tags/tag8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2.xml><?xml version="1.0" encoding="utf-8"?>
<p:tagLst xmlns:a="http://schemas.openxmlformats.org/drawingml/2006/main" xmlns:r="http://schemas.openxmlformats.org/officeDocument/2006/relationships" xmlns:p="http://schemas.openxmlformats.org/presentationml/2006/main">
  <p:tag name="SHAPENAME" val="5. Source"/>
</p:tagLst>
</file>

<file path=ppt/tags/tag8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2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1.xml><?xml version="1.0" encoding="utf-8"?>
<p:tagLst xmlns:a="http://schemas.openxmlformats.org/drawingml/2006/main" xmlns:r="http://schemas.openxmlformats.org/officeDocument/2006/relationships" xmlns:p="http://schemas.openxmlformats.org/presentationml/2006/main">
  <p:tag name="SHAPENAME" val="5. Source"/>
</p:tagLst>
</file>

<file path=ppt/tags/tag8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83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SHAPENAME" val="5. Source"/>
</p:tagLst>
</file>

<file path=ppt/tags/tag8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84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84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9.xml><?xml version="1.0" encoding="utf-8"?>
<p:tagLst xmlns:a="http://schemas.openxmlformats.org/drawingml/2006/main" xmlns:r="http://schemas.openxmlformats.org/officeDocument/2006/relationships" xmlns:p="http://schemas.openxmlformats.org/presentationml/2006/main">
  <p:tag name="SHAPENAME" val="5. Sourc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85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8.xml><?xml version="1.0" encoding="utf-8"?>
<p:tagLst xmlns:a="http://schemas.openxmlformats.org/drawingml/2006/main" xmlns:r="http://schemas.openxmlformats.org/officeDocument/2006/relationships" xmlns:p="http://schemas.openxmlformats.org/presentationml/2006/main">
  <p:tag name="SHAPENAME" val="5. Source"/>
</p:tagLst>
</file>

<file path=ppt/tags/tag8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8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7.xml><?xml version="1.0" encoding="utf-8"?>
<p:tagLst xmlns:a="http://schemas.openxmlformats.org/drawingml/2006/main" xmlns:r="http://schemas.openxmlformats.org/officeDocument/2006/relationships" xmlns:p="http://schemas.openxmlformats.org/presentationml/2006/main">
  <p:tag name="SHAPENAME" val="5. Source"/>
</p:tagLst>
</file>

<file path=ppt/tags/tag8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2.xml><?xml version="1.0" encoding="utf-8"?>
<p:tagLst xmlns:a="http://schemas.openxmlformats.org/drawingml/2006/main" xmlns:r="http://schemas.openxmlformats.org/officeDocument/2006/relationships" xmlns:p="http://schemas.openxmlformats.org/presentationml/2006/main">
  <p:tag name="SHAPENAME" val="5. Source"/>
</p:tagLst>
</file>

<file path=ppt/tags/tag8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6.xml><?xml version="1.0" encoding="utf-8"?>
<p:tagLst xmlns:a="http://schemas.openxmlformats.org/drawingml/2006/main" xmlns:r="http://schemas.openxmlformats.org/officeDocument/2006/relationships" xmlns:p="http://schemas.openxmlformats.org/presentationml/2006/main">
  <p:tag name="SHAPENAME" val="5. Source"/>
</p:tagLst>
</file>

<file path=ppt/tags/tag87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79hoeoVLS1WkHnNoUhG7sw"/>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79hoeoVLS1WkHnNoUhG7sw"/>
</p:tagLst>
</file>

<file path=ppt/tags/tag8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79hoeoVLS1WkHnNoUhG7sw"/>
</p:tagLst>
</file>

<file path=ppt/tags/tag8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79hoeoVLS1WkHnNoUhG7sw"/>
</p:tagLst>
</file>

<file path=ppt/tags/tag8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White">
  <a:themeElements>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2.xml><?xml version="1.0" encoding="utf-8"?>
<a:theme xmlns:a="http://schemas.openxmlformats.org/drawingml/2006/main" name="Contrast">
  <a:themeElements>
    <a:clrScheme name="Scheme 2">
      <a:dk1>
        <a:srgbClr val="FFFFFF"/>
      </a:dk1>
      <a:lt1>
        <a:srgbClr val="0C2D83"/>
      </a:lt1>
      <a:dk2>
        <a:srgbClr val="000000"/>
      </a:dk2>
      <a:lt2>
        <a:srgbClr val="000000"/>
      </a:lt2>
      <a:accent1>
        <a:srgbClr val="FFFFFF"/>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2">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4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400" dirty="0" err="1" smtClean="0"/>
        </a:defPPr>
      </a:lstStyle>
    </a:txDef>
  </a:objectDefaults>
  <a:extraClrSchemeLst>
    <a:extraClrScheme>
      <a:clrScheme name="Scheme 2">
        <a:dk1>
          <a:srgbClr val="FFFFFF"/>
        </a:dk1>
        <a:lt1>
          <a:srgbClr val="0C2D83"/>
        </a:lt1>
        <a:dk2>
          <a:srgbClr val="000000"/>
        </a:dk2>
        <a:lt2>
          <a:srgbClr val="000000"/>
        </a:lt2>
        <a:accent1>
          <a:srgbClr val="FFFFFF"/>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27A7296-E4AD-4E7E-91E8-1857AB728449}"/>
    </a:ext>
  </a:extLst>
</a:theme>
</file>

<file path=ppt/theme/theme3.xml><?xml version="1.0" encoding="utf-8"?>
<a:theme xmlns:a="http://schemas.openxmlformats.org/drawingml/2006/main" name="1_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4.xml><?xml version="1.0" encoding="utf-8"?>
<a:theme xmlns:a="http://schemas.openxmlformats.org/drawingml/2006/main" name="2_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08D715AD-96AF-4FD3-9DE8-B402379307F2}" vid="{10BDF7FB-8CBB-46DA-AD6B-D39AED638513}"/>
    </a:ext>
  </a:extLst>
</a:theme>
</file>

<file path=ppt/theme/theme5.xml><?xml version="1.0" encoding="utf-8"?>
<a:theme xmlns:a="http://schemas.openxmlformats.org/drawingml/2006/main" name="3_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6.xml><?xml version="1.0" encoding="utf-8"?>
<a:theme xmlns:a="http://schemas.openxmlformats.org/drawingml/2006/main" name="4_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08D715AD-96AF-4FD3-9DE8-B402379307F2}" vid="{10BDF7FB-8CBB-46DA-AD6B-D39AED638513}"/>
    </a:ext>
  </a:extLst>
</a:theme>
</file>

<file path=ppt/theme/theme7.xml><?xml version="1.0" encoding="utf-8"?>
<a:theme xmlns:a="http://schemas.openxmlformats.org/drawingml/2006/main" name="5_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8.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F1515AD27FAEC47B738952B354E4571" ma:contentTypeVersion="5" ma:contentTypeDescription="Create a new document." ma:contentTypeScope="" ma:versionID="8e148c524c0afdf1c608f828eca17e08">
  <xsd:schema xmlns:xsd="http://www.w3.org/2001/XMLSchema" xmlns:xs="http://www.w3.org/2001/XMLSchema" xmlns:p="http://schemas.microsoft.com/office/2006/metadata/properties" xmlns:ns3="f504dc79-df90-4006-86da-36df47700221" xmlns:ns4="fbb578ec-86a1-422c-84b9-ab288c347c50" targetNamespace="http://schemas.microsoft.com/office/2006/metadata/properties" ma:root="true" ma:fieldsID="4780841233583ebbb76d6a63643ae1fe" ns3:_="" ns4:_="">
    <xsd:import namespace="f504dc79-df90-4006-86da-36df47700221"/>
    <xsd:import namespace="fbb578ec-86a1-422c-84b9-ab288c347c50"/>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504dc79-df90-4006-86da-36df4770022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bb578ec-86a1-422c-84b9-ab288c347c5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4AD958E-D66B-4707-8972-B7841004AF41}">
  <ds:schemaRefs>
    <ds:schemaRef ds:uri="http://schemas.microsoft.com/sharepoint/v3/contenttype/forms"/>
  </ds:schemaRefs>
</ds:datastoreItem>
</file>

<file path=customXml/itemProps2.xml><?xml version="1.0" encoding="utf-8"?>
<ds:datastoreItem xmlns:ds="http://schemas.openxmlformats.org/officeDocument/2006/customXml" ds:itemID="{C223F7B6-D742-4139-A1DE-C78CE955A1B6}">
  <ds:schemaRefs>
    <ds:schemaRef ds:uri="f504dc79-df90-4006-86da-36df47700221"/>
    <ds:schemaRef ds:uri="http://www.w3.org/XML/1998/namespace"/>
    <ds:schemaRef ds:uri="http://schemas.microsoft.com/office/2006/metadata/properties"/>
    <ds:schemaRef ds:uri="http://purl.org/dc/elements/1.1/"/>
    <ds:schemaRef ds:uri="http://schemas.openxmlformats.org/package/2006/metadata/core-properties"/>
    <ds:schemaRef ds:uri="http://purl.org/dc/dcmitype/"/>
    <ds:schemaRef ds:uri="http://schemas.microsoft.com/office/2006/documentManagement/types"/>
    <ds:schemaRef ds:uri="fbb578ec-86a1-422c-84b9-ab288c347c50"/>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05511F7D-C5DF-43B6-BD80-A108A315C9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504dc79-df90-4006-86da-36df47700221"/>
    <ds:schemaRef ds:uri="fbb578ec-86a1-422c-84b9-ab288c347c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314</Words>
  <Application>Microsoft Office PowerPoint</Application>
  <PresentationFormat>On-screen Show (4:3)</PresentationFormat>
  <Paragraphs>142</Paragraphs>
  <Slides>4</Slides>
  <Notes>4</Notes>
  <HiddenSlides>0</HiddenSlides>
  <MMClips>0</MMClips>
  <ScaleCrop>false</ScaleCrop>
  <HeadingPairs>
    <vt:vector size="8" baseType="variant">
      <vt:variant>
        <vt:lpstr>Fonts Used</vt:lpstr>
      </vt:variant>
      <vt:variant>
        <vt:i4>4</vt:i4>
      </vt:variant>
      <vt:variant>
        <vt:lpstr>Theme</vt:lpstr>
      </vt:variant>
      <vt:variant>
        <vt:i4>7</vt:i4>
      </vt:variant>
      <vt:variant>
        <vt:lpstr>Embedded OLE Servers</vt:lpstr>
      </vt:variant>
      <vt:variant>
        <vt:i4>1</vt:i4>
      </vt:variant>
      <vt:variant>
        <vt:lpstr>Slide Titles</vt:lpstr>
      </vt:variant>
      <vt:variant>
        <vt:i4>4</vt:i4>
      </vt:variant>
    </vt:vector>
  </HeadingPairs>
  <TitlesOfParts>
    <vt:vector size="16" baseType="lpstr">
      <vt:lpstr>Arial</vt:lpstr>
      <vt:lpstr>Georgia</vt:lpstr>
      <vt:lpstr>Segoe UI</vt:lpstr>
      <vt:lpstr>Wingdings</vt:lpstr>
      <vt:lpstr>White</vt:lpstr>
      <vt:lpstr>Contrast</vt:lpstr>
      <vt:lpstr>1_White</vt:lpstr>
      <vt:lpstr>2_White</vt:lpstr>
      <vt:lpstr>3_White</vt:lpstr>
      <vt:lpstr>4_White</vt:lpstr>
      <vt:lpstr>5_White</vt:lpstr>
      <vt:lpstr>think-cell Slide</vt:lpstr>
      <vt:lpstr>Wastewater Surveillance: Overview Part 1</vt:lpstr>
      <vt:lpstr>Wastewater Surveillance: Overview Part 2</vt:lpstr>
      <vt:lpstr>Wastewater surveillance across MA treatment plants</vt:lpstr>
      <vt:lpstr>Wastewater surveillance across MA treatment plants</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0-06-25T17:16:46Z</dcterms:created>
  <dcterms:modified xsi:type="dcterms:W3CDTF">2022-09-28T18:43:2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1515AD27FAEC47B738952B354E4571</vt:lpwstr>
  </property>
</Properties>
</file>